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0_0.xml" ContentType="application/vnd.ms-powerpoint.comment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8"/>
  </p:notesMasterIdLst>
  <p:sldIdLst>
    <p:sldId id="258" r:id="rId5"/>
    <p:sldId id="256" r:id="rId6"/>
    <p:sldId id="260" r:id="rId7"/>
  </p:sldIdLst>
  <p:sldSz cx="7559675" cy="10691813"/>
  <p:notesSz cx="6858000" cy="9144000"/>
  <p:embeddedFontLst>
    <p:embeddedFont>
      <p:font typeface="Syne" pitchFamily="2" charset="77"/>
      <p:regular r:id="rId9"/>
      <p:bold r:id="rId10"/>
    </p:embeddedFont>
    <p:embeddedFont>
      <p:font typeface="Syne Medium" pitchFamily="2" charset="77"/>
      <p:regular r:id="rId11"/>
      <p:bold r:id="rId12"/>
    </p:embeddedFont>
  </p:embeddedFontLst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CFD8"/>
    <a:srgbClr val="1925BB"/>
    <a:srgbClr val="F2E502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39"/>
    <p:restoredTop sz="96327"/>
  </p:normalViewPr>
  <p:slideViewPr>
    <p:cSldViewPr snapToGrid="0">
      <p:cViewPr varScale="1">
        <p:scale>
          <a:sx n="103" d="100"/>
          <a:sy n="103" d="100"/>
        </p:scale>
        <p:origin x="3056" y="200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font" Target="fonts/font4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presProps" Target="presProps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AD4699C-1443-4F74-9846-EF1BA4200F47}" authorId="{16C62E91-B50A-760C-0C7F-2540276F811B}" status="resolved" created="2024-09-18T12:24:26.69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spMk id="54" creationId="{00000000-0000-0000-0000-000000000000}"/>
    </ac:deMkLst>
    <p188:txBody>
      <a:bodyPr/>
      <a:lstStyle/>
      <a:p>
        <a:r>
          <a:rPr lang="fr-FR"/>
          <a:t>Oter la notion de membres fondateurs et ajouter les logos de l'ensemble de nos membres</a:t>
        </a:r>
      </a:p>
    </p188:txBody>
  </p188:cm>
  <p188:cm id="{B32FCCD0-5057-488D-9F2B-3A0E11C82B0B}" authorId="{16C62E91-B50A-760C-0C7F-2540276F811B}" status="resolved" created="2024-09-18T12:27:33.628" complete="100000">
    <pc:sldMkLst xmlns:pc="http://schemas.microsoft.com/office/powerpoint/2013/main/command">
      <pc:docMk/>
      <pc:sldMk cId="0" sldId="256"/>
    </pc:sldMkLst>
    <p188:txBody>
      <a:bodyPr/>
      <a:lstStyle/>
      <a:p>
        <a:r>
          <a:rPr lang="fr-FR"/>
          <a:t>Depuis Septembre la sncf est membre de l'association Positive AI : </a:t>
        </a:r>
      </a:p>
    </p188:txBody>
  </p188:cm>
  <p188:cm id="{08C0062D-AEB6-4C50-88FC-6DC166CB2105}" authorId="{16C62E91-B50A-760C-0C7F-2540276F811B}" status="resolved" created="2024-09-18T12:28:06.41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spMk id="3" creationId="{730466D7-5592-A2DD-DCE7-A7063FF2352C}"/>
      <ac:txMk cp="8" len="1">
        <ac:context len="12" hash="1166993838"/>
      </ac:txMk>
    </ac:txMkLst>
    <p188:txBody>
      <a:bodyPr/>
      <a:lstStyle/>
      <a:p>
        <a:r>
          <a:rPr lang="fr-FR"/>
          <a:t>Réecrire le document en pensant que le lecteur est un salarié d'un nouveau membr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17738" y="685800"/>
            <a:ext cx="24241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29feaa0397b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17738" y="685800"/>
            <a:ext cx="24241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29feaa0397b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08838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12" Type="http://schemas.openxmlformats.org/officeDocument/2006/relationships/hyperlink" Target="https://www.linkedin.com/company/positive-ai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hyperlink" Target="http://www.positive.ai/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26.jpeg"/><Relationship Id="rId10" Type="http://schemas.openxmlformats.org/officeDocument/2006/relationships/image" Target="../media/image23.png"/><Relationship Id="rId4" Type="http://schemas.openxmlformats.org/officeDocument/2006/relationships/image" Target="../media/image18.emf"/><Relationship Id="rId9" Type="http://schemas.openxmlformats.org/officeDocument/2006/relationships/image" Target="../media/image22.png"/><Relationship Id="rId14" Type="http://schemas.openxmlformats.org/officeDocument/2006/relationships/image" Target="../media/image2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257712" y="1547778"/>
            <a:ext cx="7044600" cy="4266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257705" y="5891409"/>
            <a:ext cx="7044600" cy="164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076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</p:grpSp>
      <p:sp>
        <p:nvSpPr>
          <p:cNvPr id="32" name="Google Shape;57;p13">
            <a:extLst>
              <a:ext uri="{FF2B5EF4-FFF2-40B4-BE49-F238E27FC236}">
                <a16:creationId xmlns:a16="http://schemas.microsoft.com/office/drawing/2014/main" id="{B629A22F-C0D6-E56A-5211-8A7037861933}"/>
              </a:ext>
            </a:extLst>
          </p:cNvPr>
          <p:cNvSpPr txBox="1"/>
          <p:nvPr userDrawn="1"/>
        </p:nvSpPr>
        <p:spPr>
          <a:xfrm>
            <a:off x="931037" y="3473460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4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rejoint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l’association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Positive AI</a:t>
            </a:r>
            <a:endParaRPr sz="2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022220-03D9-156C-BF39-04342D046B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81069" y="7639464"/>
            <a:ext cx="2717800" cy="469233"/>
          </a:xfrm>
        </p:spPr>
        <p:txBody>
          <a:bodyPr/>
          <a:lstStyle>
            <a:lvl1pPr marL="114300" indent="0" algn="ctr">
              <a:buNone/>
              <a:defRPr/>
            </a:lvl1pPr>
          </a:lstStyle>
          <a:p>
            <a:r>
              <a:rPr lang="en-GB" dirty="0"/>
              <a:t>Member logo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32E49DC-32DC-8E12-FAC5-59F442E7F4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916" y="2542742"/>
            <a:ext cx="6541843" cy="727502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GB" sz="4800" b="1" dirty="0">
                <a:solidFill>
                  <a:srgbClr val="1925BB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en-GB" dirty="0"/>
              <a:t>Member</a:t>
            </a:r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8F367A65-7F74-A08F-09F6-ED775A3F7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916" y="667706"/>
            <a:ext cx="6541843" cy="727502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GB" sz="2800" b="1" dirty="0">
                <a:solidFill>
                  <a:srgbClr val="1925BB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3051548"/>
            <a:ext cx="5697600" cy="4725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L’IA Responsable p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ceux qui la pratiquent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’association Positive AI est un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Do Tank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tre mission est d’éclairer et de </a:t>
            </a:r>
            <a:r>
              <a:rPr lang="fr-FR" dirty="0" err="1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co-construire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avec nos membres un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ratique responsable de l’IA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et d’accompagner à la mise en œuvre du prochain cadre réglementaire d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l’AI </a:t>
            </a:r>
            <a:r>
              <a:rPr lang="fr-FR" dirty="0" err="1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Act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es entreprises membres de Positive AI bénéficient de notr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lateforme communautaire et collaborative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us accueillons les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organisations de tous secteurs et de toutes tailles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pour renforcer la </a:t>
            </a:r>
            <a:r>
              <a:rPr lang="fr-FR" dirty="0">
                <a:solidFill>
                  <a:schemeClr val="bg1"/>
                </a:solidFill>
                <a:latin typeface="Syne Medium"/>
                <a:ea typeface="Syne Medium"/>
                <a:cs typeface="Syne Medium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Nos membres</a:t>
            </a:r>
            <a:endParaRPr lang="fr-FR" sz="1800" dirty="0">
              <a:solidFill>
                <a:srgbClr val="1925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La Communauté Positive AI, une plateforme collaborative, vous donnant accès à  </a:t>
            </a:r>
            <a:endParaRPr sz="18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nseignemen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938083" y="9647824"/>
            <a:ext cx="2122935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 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treiff</a:t>
            </a:r>
            <a:endParaRPr lang="fr" sz="12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irecteur Général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élégué Positive AI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.streiff@positive.ai</a:t>
            </a:r>
            <a:endParaRPr sz="1100" i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tenus et webinaires</a:t>
            </a:r>
            <a:endParaRPr lang="fr" sz="1800" b="1">
              <a:solidFill>
                <a:srgbClr val="1926BA"/>
              </a:solidFill>
              <a:latin typeface="Syne"/>
              <a:ea typeface="Syne"/>
              <a:cs typeface="Syne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tualité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2EB6F5-2F14-FEBA-8C8E-386ADDB98BD3}"/>
              </a:ext>
            </a:extLst>
          </p:cNvPr>
          <p:cNvGrpSpPr/>
          <p:nvPr userDrawn="1"/>
        </p:nvGrpSpPr>
        <p:grpSpPr>
          <a:xfrm>
            <a:off x="686376" y="3627831"/>
            <a:ext cx="6343118" cy="892522"/>
            <a:chOff x="686376" y="3627831"/>
            <a:chExt cx="6343118" cy="892522"/>
          </a:xfrm>
        </p:grpSpPr>
        <p:sp>
          <p:nvSpPr>
            <p:cNvPr id="21" name="Google Shape;74;p14">
              <a:extLst>
                <a:ext uri="{FF2B5EF4-FFF2-40B4-BE49-F238E27FC236}">
                  <a16:creationId xmlns:a16="http://schemas.microsoft.com/office/drawing/2014/main" id="{FFE65C90-4126-50B1-518A-BEF7F37BB8F1}"/>
                </a:ext>
              </a:extLst>
            </p:cNvPr>
            <p:cNvSpPr txBox="1"/>
            <p:nvPr userDrawn="1"/>
          </p:nvSpPr>
          <p:spPr>
            <a:xfrm>
              <a:off x="1351570" y="3627831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lnSpc>
                  <a:spcPct val="115000"/>
                </a:lnSpc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référentiel technique coconstruit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centraliser les bonnes pratiques (questions, actions, outils) afin de progresser dans la mise en œuvre des Systèmes d’IA </a:t>
              </a:r>
              <a:r>
                <a:rPr lang="fr" sz="120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éthiques et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responsables</a:t>
              </a:r>
              <a:endParaRPr lang="en-FR" sz="105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FE408D-02E9-C31D-FB9E-007F46D07ADE}"/>
                </a:ext>
              </a:extLst>
            </p:cNvPr>
            <p:cNvGrpSpPr/>
            <p:nvPr userDrawn="1"/>
          </p:nvGrpSpPr>
          <p:grpSpPr>
            <a:xfrm>
              <a:off x="686376" y="3804625"/>
              <a:ext cx="589091" cy="589091"/>
              <a:chOff x="686376" y="3804625"/>
              <a:chExt cx="589091" cy="58909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85C3BA4-F6C8-E65F-5FA9-231617B8CDD6}"/>
                  </a:ext>
                </a:extLst>
              </p:cNvPr>
              <p:cNvSpPr/>
              <p:nvPr userDrawn="1"/>
            </p:nvSpPr>
            <p:spPr>
              <a:xfrm>
                <a:off x="686376" y="3804625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29" name="Google Shape;58;p13">
                <a:extLst>
                  <a:ext uri="{FF2B5EF4-FFF2-40B4-BE49-F238E27FC236}">
                    <a16:creationId xmlns:a16="http://schemas.microsoft.com/office/drawing/2014/main" id="{9B6E5F56-B8F4-9621-0B54-9321B92424D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6">
                <a:alphaModFix/>
              </a:blip>
              <a:stretch>
                <a:fillRect/>
              </a:stretch>
            </p:blipFill>
            <p:spPr>
              <a:xfrm>
                <a:off x="773668" y="3944692"/>
                <a:ext cx="404227" cy="315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</p:pic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3E1F7A-0AF6-329C-7E91-F0C43D3B74AC}"/>
              </a:ext>
            </a:extLst>
          </p:cNvPr>
          <p:cNvGrpSpPr/>
          <p:nvPr userDrawn="1"/>
        </p:nvGrpSpPr>
        <p:grpSpPr>
          <a:xfrm>
            <a:off x="686376" y="4500516"/>
            <a:ext cx="6343118" cy="892522"/>
            <a:chOff x="686376" y="4500516"/>
            <a:chExt cx="6343118" cy="892522"/>
          </a:xfrm>
        </p:grpSpPr>
        <p:sp>
          <p:nvSpPr>
            <p:cNvPr id="16" name="Google Shape;75;p14">
              <a:extLst>
                <a:ext uri="{FF2B5EF4-FFF2-40B4-BE49-F238E27FC236}">
                  <a16:creationId xmlns:a16="http://schemas.microsoft.com/office/drawing/2014/main" id="{CF1E02A7-6711-F114-BDB1-70A30B7B80E2}"/>
                </a:ext>
              </a:extLst>
            </p:cNvPr>
            <p:cNvSpPr txBox="1"/>
            <p:nvPr userDrawn="1"/>
          </p:nvSpPr>
          <p:spPr>
            <a:xfrm>
              <a:off x="1351570" y="4500516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formations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spécifiques sur l’IA Responsable déclinées pour les data scientists, le top management et les responsables métier, </a:t>
              </a: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conçues avec</a:t>
              </a:r>
              <a:endParaRPr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17" name="Google Shape;93;p14">
              <a:extLst>
                <a:ext uri="{FF2B5EF4-FFF2-40B4-BE49-F238E27FC236}">
                  <a16:creationId xmlns:a16="http://schemas.microsoft.com/office/drawing/2014/main" id="{A6C81B12-DDF3-E5E3-02E5-631149A0D93C}"/>
                </a:ext>
              </a:extLst>
            </p:cNvPr>
            <p:cNvPicPr preferRelativeResize="0"/>
            <p:nvPr userDrawn="1"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2425642" y="5084497"/>
              <a:ext cx="1048452" cy="21543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F52B59-1477-D32C-E064-0945F46C3D18}"/>
                </a:ext>
              </a:extLst>
            </p:cNvPr>
            <p:cNvGrpSpPr/>
            <p:nvPr userDrawn="1"/>
          </p:nvGrpSpPr>
          <p:grpSpPr>
            <a:xfrm>
              <a:off x="686376" y="4631806"/>
              <a:ext cx="589091" cy="589091"/>
              <a:chOff x="686376" y="4631806"/>
              <a:chExt cx="589091" cy="589091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F35BC33-CE5A-8DA9-22D6-39C87FC8E982}"/>
                  </a:ext>
                </a:extLst>
              </p:cNvPr>
              <p:cNvSpPr/>
              <p:nvPr userDrawn="1"/>
            </p:nvSpPr>
            <p:spPr>
              <a:xfrm>
                <a:off x="686376" y="463180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0" name="Google Shape;62;p13">
                <a:extLst>
                  <a:ext uri="{FF2B5EF4-FFF2-40B4-BE49-F238E27FC236}">
                    <a16:creationId xmlns:a16="http://schemas.microsoft.com/office/drawing/2014/main" id="{6B9AA813-1971-535B-CD3E-A8E61386404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730846" y="4798003"/>
                <a:ext cx="489115" cy="2285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6172E5E-C5B9-F397-2F3D-42102CEF3AAE}"/>
              </a:ext>
            </a:extLst>
          </p:cNvPr>
          <p:cNvGrpSpPr/>
          <p:nvPr userDrawn="1"/>
        </p:nvGrpSpPr>
        <p:grpSpPr>
          <a:xfrm>
            <a:off x="686376" y="5373201"/>
            <a:ext cx="6343118" cy="680156"/>
            <a:chOff x="686376" y="5373201"/>
            <a:chExt cx="6343118" cy="680156"/>
          </a:xfrm>
        </p:grpSpPr>
        <p:sp>
          <p:nvSpPr>
            <p:cNvPr id="10" name="Google Shape;76;p14">
              <a:extLst>
                <a:ext uri="{FF2B5EF4-FFF2-40B4-BE49-F238E27FC236}">
                  <a16:creationId xmlns:a16="http://schemas.microsoft.com/office/drawing/2014/main" id="{814BA11C-A3F2-77D8-571E-679680F37BAD}"/>
                </a:ext>
              </a:extLst>
            </p:cNvPr>
            <p:cNvSpPr txBox="1"/>
            <p:nvPr userDrawn="1"/>
          </p:nvSpPr>
          <p:spPr>
            <a:xfrm>
              <a:off x="1351570" y="537320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diagnostic flash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s’évaluer rapidement et identifier les points d’amélioration  </a:t>
              </a:r>
              <a:r>
                <a:rPr lang="fr" sz="10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Réalisé par un tiers- auditeur)</a:t>
              </a:r>
              <a:endParaRPr sz="9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9427C0-9E48-990E-4291-A3C0E9CD8498}"/>
                </a:ext>
              </a:extLst>
            </p:cNvPr>
            <p:cNvGrpSpPr/>
            <p:nvPr userDrawn="1"/>
          </p:nvGrpSpPr>
          <p:grpSpPr>
            <a:xfrm>
              <a:off x="686376" y="5458987"/>
              <a:ext cx="589091" cy="589091"/>
              <a:chOff x="686376" y="5458987"/>
              <a:chExt cx="589091" cy="58909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27FC055D-0B97-9BA4-7FB5-A8831712A045}"/>
                  </a:ext>
                </a:extLst>
              </p:cNvPr>
              <p:cNvSpPr/>
              <p:nvPr userDrawn="1"/>
            </p:nvSpPr>
            <p:spPr>
              <a:xfrm>
                <a:off x="686376" y="5458987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1" name="Google Shape;60;p13">
                <a:extLst>
                  <a:ext uri="{FF2B5EF4-FFF2-40B4-BE49-F238E27FC236}">
                    <a16:creationId xmlns:a16="http://schemas.microsoft.com/office/drawing/2014/main" id="{68E1924C-DBF9-D8CF-9368-1D117DF3D0DE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828272" y="5552183"/>
                <a:ext cx="294260" cy="3905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3C6891-4B8B-7435-789C-9360D84127B4}"/>
              </a:ext>
            </a:extLst>
          </p:cNvPr>
          <p:cNvGrpSpPr/>
          <p:nvPr userDrawn="1"/>
        </p:nvGrpSpPr>
        <p:grpSpPr>
          <a:xfrm>
            <a:off x="686376" y="6201642"/>
            <a:ext cx="6343118" cy="680156"/>
            <a:chOff x="686376" y="6201642"/>
            <a:chExt cx="6343118" cy="680156"/>
          </a:xfrm>
        </p:grpSpPr>
        <p:sp>
          <p:nvSpPr>
            <p:cNvPr id="20" name="Google Shape;77;p14">
              <a:extLst>
                <a:ext uri="{FF2B5EF4-FFF2-40B4-BE49-F238E27FC236}">
                  <a16:creationId xmlns:a16="http://schemas.microsoft.com/office/drawing/2014/main" id="{30A8BC42-7BEB-8682-DFC9-9332B57D49F4}"/>
                </a:ext>
              </a:extLst>
            </p:cNvPr>
            <p:cNvSpPr txBox="1"/>
            <p:nvPr userDrawn="1"/>
          </p:nvSpPr>
          <p:spPr>
            <a:xfrm>
              <a:off x="1351570" y="6201642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Un label</a:t>
              </a: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</a:t>
              </a:r>
              <a:r>
                <a:rPr lang="fr-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pour mesurer la maturité en IA éthique et responsable des entreprises et proposer des axes d’amélioration </a:t>
              </a:r>
              <a:r>
                <a:rPr lang="fr" sz="9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Réalisé par un tiers- auditeur)</a:t>
              </a:r>
              <a:endParaRPr sz="8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70D2461-2F08-E127-C770-358D99533C0B}"/>
                </a:ext>
              </a:extLst>
            </p:cNvPr>
            <p:cNvGrpSpPr/>
            <p:nvPr userDrawn="1"/>
          </p:nvGrpSpPr>
          <p:grpSpPr>
            <a:xfrm>
              <a:off x="686376" y="6286166"/>
              <a:ext cx="589091" cy="589091"/>
              <a:chOff x="686376" y="6286166"/>
              <a:chExt cx="589091" cy="58909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9BEF3D4-4CF7-7620-5D7A-D33F25A3C967}"/>
                  </a:ext>
                </a:extLst>
              </p:cNvPr>
              <p:cNvSpPr/>
              <p:nvPr userDrawn="1"/>
            </p:nvSpPr>
            <p:spPr>
              <a:xfrm>
                <a:off x="686376" y="628616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pic>
            <p:nvPicPr>
              <p:cNvPr id="32" name="Google Shape;59;p13">
                <a:extLst>
                  <a:ext uri="{FF2B5EF4-FFF2-40B4-BE49-F238E27FC236}">
                    <a16:creationId xmlns:a16="http://schemas.microsoft.com/office/drawing/2014/main" id="{3A5AC010-91AC-0686-C83D-5EF889B4B7F8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10">
                <a:alphaModFix/>
              </a:blip>
              <a:stretch>
                <a:fillRect/>
              </a:stretch>
            </p:blipFill>
            <p:spPr>
              <a:xfrm>
                <a:off x="827538" y="6402686"/>
                <a:ext cx="324184" cy="3550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11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1" dirty="0">
                  <a:solidFill>
                    <a:schemeClr val="bg1"/>
                  </a:solidFill>
                  <a:latin typeface="Syne"/>
                  <a:ea typeface="Syne"/>
                  <a:cs typeface="Syne"/>
                  <a:sym typeface="Syne"/>
                </a:rPr>
                <a:t>Je m’inscris !</a:t>
              </a:r>
              <a:endParaRPr dirty="0">
                <a:solidFill>
                  <a:schemeClr val="bg1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>
                    <a:solidFill>
                      <a:srgbClr val="1926BA"/>
                    </a:solidFill>
                    <a:uFill>
                      <a:noFill/>
                    </a:uFill>
                    <a:latin typeface="Syne"/>
                    <a:ea typeface="Syne"/>
                    <a:cs typeface="Syne"/>
                    <a:sym typeface="Syne"/>
                    <a:hlinkClick r:id="rId1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1" err="1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www.positive.ai</a:t>
              </a:r>
              <a:endParaRPr lang="fr" sz="12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42" name="Picture 41">
              <a:hlinkClick r:id="rId11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5AB71A-B59D-56CC-F653-DD2CD2064477}"/>
              </a:ext>
            </a:extLst>
          </p:cNvPr>
          <p:cNvGrpSpPr/>
          <p:nvPr userDrawn="1"/>
        </p:nvGrpSpPr>
        <p:grpSpPr>
          <a:xfrm>
            <a:off x="686376" y="2940966"/>
            <a:ext cx="6343118" cy="680156"/>
            <a:chOff x="686376" y="2940966"/>
            <a:chExt cx="6343118" cy="680156"/>
          </a:xfrm>
        </p:grpSpPr>
        <p:sp>
          <p:nvSpPr>
            <p:cNvPr id="9" name="Google Shape;73;p14">
              <a:extLst>
                <a:ext uri="{FF2B5EF4-FFF2-40B4-BE49-F238E27FC236}">
                  <a16:creationId xmlns:a16="http://schemas.microsoft.com/office/drawing/2014/main" id="{042F6855-0188-8D8B-5BE2-257C16E35295}"/>
                </a:ext>
              </a:extLst>
            </p:cNvPr>
            <p:cNvSpPr txBox="1"/>
            <p:nvPr userDrawn="1"/>
          </p:nvSpPr>
          <p:spPr>
            <a:xfrm>
              <a:off x="1351570" y="2940966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ateliers 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en petits groupes pour un travail collaboratif en intelligence collective (thèmes juridique</a:t>
              </a:r>
              <a:r>
                <a:rPr lang="en-GB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, technique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 et business</a:t>
              </a:r>
              <a:r>
                <a:rPr lang="en-GB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)</a:t>
              </a:r>
              <a:endParaRPr lang="en-GB" sz="16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9D82B2-F6D5-54F3-5362-9688684CF842}"/>
                </a:ext>
              </a:extLst>
            </p:cNvPr>
            <p:cNvGrpSpPr/>
            <p:nvPr userDrawn="1"/>
          </p:nvGrpSpPr>
          <p:grpSpPr>
            <a:xfrm>
              <a:off x="686376" y="2977444"/>
              <a:ext cx="589091" cy="589091"/>
              <a:chOff x="686376" y="2977444"/>
              <a:chExt cx="589091" cy="58909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CFF2F5E-0412-4A2B-861A-6FC56FD24510}"/>
                  </a:ext>
                </a:extLst>
              </p:cNvPr>
              <p:cNvSpPr/>
              <p:nvPr userDrawn="1"/>
            </p:nvSpPr>
            <p:spPr>
              <a:xfrm>
                <a:off x="686376" y="2977444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F35F2E1E-1E7A-B857-D11F-4001802547F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819794" y="3096208"/>
                <a:ext cx="367224" cy="346059"/>
                <a:chOff x="8301033" y="3162506"/>
                <a:chExt cx="952485" cy="897586"/>
              </a:xfrm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1DB9694-3D5E-D9C5-1E28-2B649F882857}"/>
                    </a:ext>
                  </a:extLst>
                </p:cNvPr>
                <p:cNvSpPr/>
                <p:nvPr/>
              </p:nvSpPr>
              <p:spPr>
                <a:xfrm>
                  <a:off x="8301033" y="3431213"/>
                  <a:ext cx="610966" cy="628879"/>
                </a:xfrm>
                <a:custGeom>
                  <a:avLst/>
                  <a:gdLst>
                    <a:gd name="connsiteX0" fmla="*/ 507754 w 610966"/>
                    <a:gd name="connsiteY0" fmla="*/ 0 h 628879"/>
                    <a:gd name="connsiteX1" fmla="*/ 610967 w 610966"/>
                    <a:gd name="connsiteY1" fmla="*/ 105471 h 628879"/>
                    <a:gd name="connsiteX2" fmla="*/ 149442 w 610966"/>
                    <a:gd name="connsiteY2" fmla="*/ 612833 h 628879"/>
                    <a:gd name="connsiteX3" fmla="*/ 72004 w 610966"/>
                    <a:gd name="connsiteY3" fmla="*/ 612833 h 628879"/>
                    <a:gd name="connsiteX4" fmla="*/ 16131 w 610966"/>
                    <a:gd name="connsiteY4" fmla="*/ 555836 h 628879"/>
                    <a:gd name="connsiteX5" fmla="*/ 16131 w 610966"/>
                    <a:gd name="connsiteY5" fmla="*/ 478892 h 628879"/>
                    <a:gd name="connsiteX6" fmla="*/ 507754 w 610966"/>
                    <a:gd name="connsiteY6" fmla="*/ 0 h 62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0966" h="628879">
                      <a:moveTo>
                        <a:pt x="507754" y="0"/>
                      </a:moveTo>
                      <a:lnTo>
                        <a:pt x="610967" y="105471"/>
                      </a:lnTo>
                      <a:lnTo>
                        <a:pt x="149442" y="612833"/>
                      </a:lnTo>
                      <a:cubicBezTo>
                        <a:pt x="129373" y="634229"/>
                        <a:pt x="93512" y="634229"/>
                        <a:pt x="72004" y="612833"/>
                      </a:cubicBezTo>
                      <a:lnTo>
                        <a:pt x="16131" y="555836"/>
                      </a:lnTo>
                      <a:cubicBezTo>
                        <a:pt x="-5377" y="535889"/>
                        <a:pt x="-5377" y="500259"/>
                        <a:pt x="16131" y="478892"/>
                      </a:cubicBezTo>
                      <a:lnTo>
                        <a:pt x="507754" y="0"/>
                      </a:lnTo>
                      <a:close/>
                    </a:path>
                  </a:pathLst>
                </a:custGeom>
                <a:solidFill>
                  <a:srgbClr val="F2E50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42C198CC-D05E-5975-AFB2-1EEABF0AC012}"/>
                    </a:ext>
                  </a:extLst>
                </p:cNvPr>
                <p:cNvSpPr/>
                <p:nvPr/>
              </p:nvSpPr>
              <p:spPr>
                <a:xfrm>
                  <a:off x="8633965" y="3162506"/>
                  <a:ext cx="619553" cy="467176"/>
                </a:xfrm>
                <a:custGeom>
                  <a:avLst/>
                  <a:gdLst>
                    <a:gd name="connsiteX0" fmla="*/ 607743 w 619553"/>
                    <a:gd name="connsiteY0" fmla="*/ 377010 h 467176"/>
                    <a:gd name="connsiteX1" fmla="*/ 530304 w 619553"/>
                    <a:gd name="connsiteY1" fmla="*/ 455413 h 467176"/>
                    <a:gd name="connsiteX2" fmla="*/ 472983 w 619553"/>
                    <a:gd name="connsiteY2" fmla="*/ 455413 h 467176"/>
                    <a:gd name="connsiteX3" fmla="*/ 455790 w 619553"/>
                    <a:gd name="connsiteY3" fmla="*/ 436897 h 467176"/>
                    <a:gd name="connsiteX4" fmla="*/ 444322 w 619553"/>
                    <a:gd name="connsiteY4" fmla="*/ 394125 h 467176"/>
                    <a:gd name="connsiteX5" fmla="*/ 428520 w 619553"/>
                    <a:gd name="connsiteY5" fmla="*/ 337099 h 467176"/>
                    <a:gd name="connsiteX6" fmla="*/ 332518 w 619553"/>
                    <a:gd name="connsiteY6" fmla="*/ 318573 h 467176"/>
                    <a:gd name="connsiteX7" fmla="*/ 302419 w 619553"/>
                    <a:gd name="connsiteY7" fmla="*/ 348502 h 467176"/>
                    <a:gd name="connsiteX8" fmla="*/ 196329 w 619553"/>
                    <a:gd name="connsiteY8" fmla="*/ 244480 h 467176"/>
                    <a:gd name="connsiteX9" fmla="*/ 213570 w 619553"/>
                    <a:gd name="connsiteY9" fmla="*/ 227366 h 467176"/>
                    <a:gd name="connsiteX10" fmla="*/ 226438 w 619553"/>
                    <a:gd name="connsiteY10" fmla="*/ 213121 h 467176"/>
                    <a:gd name="connsiteX11" fmla="*/ 225000 w 619553"/>
                    <a:gd name="connsiteY11" fmla="*/ 143280 h 467176"/>
                    <a:gd name="connsiteX12" fmla="*/ 1438 w 619553"/>
                    <a:gd name="connsiteY12" fmla="*/ 53494 h 467176"/>
                    <a:gd name="connsiteX13" fmla="*/ 0 w 619553"/>
                    <a:gd name="connsiteY13" fmla="*/ 20695 h 467176"/>
                    <a:gd name="connsiteX14" fmla="*/ 397069 w 619553"/>
                    <a:gd name="connsiteY14" fmla="*/ 103369 h 467176"/>
                    <a:gd name="connsiteX15" fmla="*/ 473012 w 619553"/>
                    <a:gd name="connsiteY15" fmla="*/ 178911 h 467176"/>
                    <a:gd name="connsiteX16" fmla="*/ 500224 w 619553"/>
                    <a:gd name="connsiteY16" fmla="*/ 280111 h 467176"/>
                    <a:gd name="connsiteX17" fmla="*/ 543239 w 619553"/>
                    <a:gd name="connsiteY17" fmla="*/ 298636 h 467176"/>
                    <a:gd name="connsiteX18" fmla="*/ 591960 w 619553"/>
                    <a:gd name="connsiteY18" fmla="*/ 302908 h 467176"/>
                    <a:gd name="connsiteX19" fmla="*/ 607762 w 619553"/>
                    <a:gd name="connsiteY19" fmla="*/ 320022 h 467176"/>
                    <a:gd name="connsiteX20" fmla="*/ 607743 w 619553"/>
                    <a:gd name="connsiteY20" fmla="*/ 377010 h 467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19553" h="467176">
                      <a:moveTo>
                        <a:pt x="607743" y="377010"/>
                      </a:moveTo>
                      <a:lnTo>
                        <a:pt x="530304" y="455413"/>
                      </a:lnTo>
                      <a:cubicBezTo>
                        <a:pt x="514560" y="471097"/>
                        <a:pt x="490166" y="471097"/>
                        <a:pt x="472983" y="455413"/>
                      </a:cubicBezTo>
                      <a:lnTo>
                        <a:pt x="455790" y="436897"/>
                      </a:lnTo>
                      <a:cubicBezTo>
                        <a:pt x="442884" y="425484"/>
                        <a:pt x="437112" y="404098"/>
                        <a:pt x="444322" y="394125"/>
                      </a:cubicBezTo>
                      <a:cubicBezTo>
                        <a:pt x="457181" y="385582"/>
                        <a:pt x="452914" y="359924"/>
                        <a:pt x="428520" y="337099"/>
                      </a:cubicBezTo>
                      <a:cubicBezTo>
                        <a:pt x="394164" y="301468"/>
                        <a:pt x="349701" y="300057"/>
                        <a:pt x="332518" y="318573"/>
                      </a:cubicBezTo>
                      <a:cubicBezTo>
                        <a:pt x="325364" y="324284"/>
                        <a:pt x="302419" y="348502"/>
                        <a:pt x="302419" y="348502"/>
                      </a:cubicBezTo>
                      <a:lnTo>
                        <a:pt x="196329" y="244480"/>
                      </a:lnTo>
                      <a:lnTo>
                        <a:pt x="213570" y="227366"/>
                      </a:lnTo>
                      <a:cubicBezTo>
                        <a:pt x="213570" y="227366"/>
                        <a:pt x="217837" y="223094"/>
                        <a:pt x="226438" y="213121"/>
                      </a:cubicBezTo>
                      <a:cubicBezTo>
                        <a:pt x="259423" y="180332"/>
                        <a:pt x="225000" y="143280"/>
                        <a:pt x="225000" y="143280"/>
                      </a:cubicBezTo>
                      <a:cubicBezTo>
                        <a:pt x="131874" y="52063"/>
                        <a:pt x="1438" y="53494"/>
                        <a:pt x="1438" y="53494"/>
                      </a:cubicBezTo>
                      <a:lnTo>
                        <a:pt x="0" y="20695"/>
                      </a:lnTo>
                      <a:cubicBezTo>
                        <a:pt x="262309" y="-46304"/>
                        <a:pt x="361198" y="67738"/>
                        <a:pt x="397069" y="103369"/>
                      </a:cubicBezTo>
                      <a:cubicBezTo>
                        <a:pt x="429987" y="136139"/>
                        <a:pt x="464410" y="170340"/>
                        <a:pt x="473012" y="178911"/>
                      </a:cubicBezTo>
                      <a:cubicBezTo>
                        <a:pt x="491633" y="197427"/>
                        <a:pt x="473012" y="250144"/>
                        <a:pt x="500224" y="280111"/>
                      </a:cubicBezTo>
                      <a:cubicBezTo>
                        <a:pt x="513131" y="292925"/>
                        <a:pt x="530323" y="298636"/>
                        <a:pt x="543239" y="298636"/>
                      </a:cubicBezTo>
                      <a:cubicBezTo>
                        <a:pt x="557603" y="285822"/>
                        <a:pt x="580492" y="290093"/>
                        <a:pt x="591960" y="302908"/>
                      </a:cubicBezTo>
                      <a:lnTo>
                        <a:pt x="607762" y="320022"/>
                      </a:lnTo>
                      <a:cubicBezTo>
                        <a:pt x="623487" y="335707"/>
                        <a:pt x="623487" y="359924"/>
                        <a:pt x="607743" y="377010"/>
                      </a:cubicBezTo>
                      <a:close/>
                    </a:path>
                  </a:pathLst>
                </a:custGeom>
                <a:solidFill>
                  <a:srgbClr val="F7CFD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1F2E5DC-2394-0876-1C27-A8F359D42C20}"/>
              </a:ext>
            </a:extLst>
          </p:cNvPr>
          <p:cNvGrpSpPr/>
          <p:nvPr userDrawn="1"/>
        </p:nvGrpSpPr>
        <p:grpSpPr>
          <a:xfrm>
            <a:off x="686376" y="2068281"/>
            <a:ext cx="6343118" cy="680156"/>
            <a:chOff x="686376" y="2068281"/>
            <a:chExt cx="6343118" cy="680156"/>
          </a:xfrm>
        </p:grpSpPr>
        <p:sp>
          <p:nvSpPr>
            <p:cNvPr id="8" name="Google Shape;72;p14">
              <a:extLst>
                <a:ext uri="{FF2B5EF4-FFF2-40B4-BE49-F238E27FC236}">
                  <a16:creationId xmlns:a16="http://schemas.microsoft.com/office/drawing/2014/main" id="{7A6A449E-56D9-8D7D-9305-6EBE76A80DDA}"/>
                </a:ext>
              </a:extLst>
            </p:cNvPr>
            <p:cNvSpPr txBox="1"/>
            <p:nvPr userDrawn="1"/>
          </p:nvSpPr>
          <p:spPr>
            <a:xfrm>
              <a:off x="1351570" y="206828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Des webinaires mensuels inspirants</a:t>
              </a:r>
              <a:endParaRPr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1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(</a:t>
              </a:r>
              <a:r>
                <a:rPr lang="fr" sz="1200" dirty="0">
                  <a:solidFill>
                    <a:srgbClr val="1926BA"/>
                  </a:solidFill>
                  <a:latin typeface="Syne"/>
                  <a:ea typeface="Syne"/>
                  <a:cs typeface="Syne"/>
                  <a:sym typeface="Syne"/>
                </a:rPr>
                <a:t>enjeux, impacts, prospective) avec des interventions d’experts de haut niveau.</a:t>
              </a:r>
              <a:endParaRPr sz="28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881517-FA6F-AF9A-7501-7496B5C3B5B2}"/>
                </a:ext>
              </a:extLst>
            </p:cNvPr>
            <p:cNvGrpSpPr/>
            <p:nvPr userDrawn="1"/>
          </p:nvGrpSpPr>
          <p:grpSpPr>
            <a:xfrm>
              <a:off x="686376" y="2150263"/>
              <a:ext cx="589091" cy="589091"/>
              <a:chOff x="686376" y="2150263"/>
              <a:chExt cx="589091" cy="589091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31915D6-8A10-4018-58B3-992C821CE9BD}"/>
                  </a:ext>
                </a:extLst>
              </p:cNvPr>
              <p:cNvSpPr/>
              <p:nvPr userDrawn="1"/>
            </p:nvSpPr>
            <p:spPr>
              <a:xfrm>
                <a:off x="686376" y="2150263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4F0F74D2-8C40-2695-A4C7-4519BB3FEA0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17181" y="2324677"/>
                <a:ext cx="334694" cy="247382"/>
              </a:xfrm>
              <a:custGeom>
                <a:avLst/>
                <a:gdLst>
                  <a:gd name="connsiteX0" fmla="*/ 209550 w 228600"/>
                  <a:gd name="connsiteY0" fmla="*/ 0 h 168965"/>
                  <a:gd name="connsiteX1" fmla="*/ 19050 w 228600"/>
                  <a:gd name="connsiteY1" fmla="*/ 0 h 168965"/>
                  <a:gd name="connsiteX2" fmla="*/ 0 w 228600"/>
                  <a:gd name="connsiteY2" fmla="*/ 18774 h 168965"/>
                  <a:gd name="connsiteX3" fmla="*/ 0 w 228600"/>
                  <a:gd name="connsiteY3" fmla="*/ 150191 h 168965"/>
                  <a:gd name="connsiteX4" fmla="*/ 19050 w 228600"/>
                  <a:gd name="connsiteY4" fmla="*/ 168965 h 168965"/>
                  <a:gd name="connsiteX5" fmla="*/ 209550 w 228600"/>
                  <a:gd name="connsiteY5" fmla="*/ 168965 h 168965"/>
                  <a:gd name="connsiteX6" fmla="*/ 228600 w 228600"/>
                  <a:gd name="connsiteY6" fmla="*/ 150191 h 168965"/>
                  <a:gd name="connsiteX7" fmla="*/ 228600 w 228600"/>
                  <a:gd name="connsiteY7" fmla="*/ 18774 h 168965"/>
                  <a:gd name="connsiteX8" fmla="*/ 209550 w 228600"/>
                  <a:gd name="connsiteY8" fmla="*/ 0 h 168965"/>
                  <a:gd name="connsiteX9" fmla="*/ 95250 w 228600"/>
                  <a:gd name="connsiteY9" fmla="*/ 122030 h 168965"/>
                  <a:gd name="connsiteX10" fmla="*/ 95250 w 228600"/>
                  <a:gd name="connsiteY10" fmla="*/ 46935 h 168965"/>
                  <a:gd name="connsiteX11" fmla="*/ 152400 w 228600"/>
                  <a:gd name="connsiteY11" fmla="*/ 84483 h 168965"/>
                  <a:gd name="connsiteX12" fmla="*/ 95250 w 228600"/>
                  <a:gd name="connsiteY12" fmla="*/ 122030 h 16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168965">
                    <a:moveTo>
                      <a:pt x="209550" y="0"/>
                    </a:moveTo>
                    <a:lnTo>
                      <a:pt x="19050" y="0"/>
                    </a:lnTo>
                    <a:cubicBezTo>
                      <a:pt x="8534" y="0"/>
                      <a:pt x="0" y="8411"/>
                      <a:pt x="0" y="18774"/>
                    </a:cubicBezTo>
                    <a:lnTo>
                      <a:pt x="0" y="150191"/>
                    </a:lnTo>
                    <a:cubicBezTo>
                      <a:pt x="0" y="160555"/>
                      <a:pt x="8534" y="168965"/>
                      <a:pt x="19050" y="168965"/>
                    </a:cubicBezTo>
                    <a:lnTo>
                      <a:pt x="209550" y="168965"/>
                    </a:lnTo>
                    <a:cubicBezTo>
                      <a:pt x="220066" y="168965"/>
                      <a:pt x="228600" y="160555"/>
                      <a:pt x="228600" y="150191"/>
                    </a:cubicBezTo>
                    <a:lnTo>
                      <a:pt x="228600" y="18774"/>
                    </a:lnTo>
                    <a:cubicBezTo>
                      <a:pt x="228600" y="8411"/>
                      <a:pt x="220066" y="0"/>
                      <a:pt x="209550" y="0"/>
                    </a:cubicBezTo>
                    <a:close/>
                    <a:moveTo>
                      <a:pt x="95250" y="122030"/>
                    </a:moveTo>
                    <a:lnTo>
                      <a:pt x="95250" y="46935"/>
                    </a:lnTo>
                    <a:lnTo>
                      <a:pt x="152400" y="84483"/>
                    </a:lnTo>
                    <a:lnTo>
                      <a:pt x="95250" y="12203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393900" y="9641727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2" name="Text Placeholder 36">
            <a:extLst>
              <a:ext uri="{FF2B5EF4-FFF2-40B4-BE49-F238E27FC236}">
                <a16:creationId xmlns:a16="http://schemas.microsoft.com/office/drawing/2014/main" id="{1AC6DFCF-CB03-DD17-75F0-904B686C13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38083" y="8420706"/>
            <a:ext cx="2120400" cy="12708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lvl1pPr>
              <a:defRPr lang="en-GB" sz="1200" b="1" dirty="0">
                <a:solidFill>
                  <a:srgbClr val="1926BA"/>
                </a:solidFill>
                <a:latin typeface="Syne"/>
                <a:ea typeface="Syne"/>
                <a:cs typeface="Syne"/>
              </a:defRPr>
            </a:lvl1pPr>
          </a:lstStyle>
          <a:p>
            <a:pPr marL="0" lvl="0" indent="0" algn="ctr">
              <a:buClr>
                <a:srgbClr val="000000"/>
              </a:buClr>
              <a:buNone/>
            </a:pPr>
            <a:r>
              <a:rPr lang="en-GB" dirty="0"/>
              <a:t>Gatherer </a:t>
            </a:r>
            <a:r>
              <a:rPr lang="en-GB" dirty="0" err="1"/>
              <a:t>infos</a:t>
            </a:r>
            <a:endParaRPr lang="en-GB" dirty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396118" y="8628531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257705" y="4471058"/>
            <a:ext cx="7044600" cy="174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33069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3995291" y="2395696"/>
            <a:ext cx="3306900" cy="710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257705" y="1154948"/>
            <a:ext cx="2321700" cy="157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257705" y="2888617"/>
            <a:ext cx="2321700" cy="660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05325" y="935745"/>
            <a:ext cx="5264700" cy="8503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3780000" y="-260"/>
            <a:ext cx="3780000" cy="10692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19508" y="2563450"/>
            <a:ext cx="3344400" cy="3081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19508" y="5826865"/>
            <a:ext cx="3344400" cy="256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083839" y="1505164"/>
            <a:ext cx="3172200" cy="768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  <p:sldLayoutId id="2147483663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4.png"/><Relationship Id="rId1" Type="http://schemas.openxmlformats.org/officeDocument/2006/relationships/tags" Target="../tags/tag7.xml"/><Relationship Id="rId6" Type="http://schemas.openxmlformats.org/officeDocument/2006/relationships/image" Target="../media/image28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microsoft.com/office/2018/10/relationships/comments" Target="../comments/modernComment_100_0.xml"/><Relationship Id="rId9" Type="http://schemas.openxmlformats.org/officeDocument/2006/relationships/image" Target="../media/image7.jp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linkedin.com/company/positive-ai/" TargetMode="External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6.jpeg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21.png"/><Relationship Id="rId5" Type="http://schemas.openxmlformats.org/officeDocument/2006/relationships/image" Target="../media/image29.emf"/><Relationship Id="rId15" Type="http://schemas.openxmlformats.org/officeDocument/2006/relationships/image" Target="../media/image25.pn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Relationship Id="rId14" Type="http://schemas.openxmlformats.org/officeDocument/2006/relationships/hyperlink" Target="http://www.positive.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26A40-08C7-3093-A9CB-1B0FE38219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871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26A40-08C7-3093-A9CB-1B0FE3821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9006DED-9AA3-0BFF-27A7-D6F635BD6B80}"/>
              </a:ext>
            </a:extLst>
          </p:cNvPr>
          <p:cNvSpPr/>
          <p:nvPr/>
        </p:nvSpPr>
        <p:spPr>
          <a:xfrm>
            <a:off x="0" y="-1"/>
            <a:ext cx="7559675" cy="10691813"/>
          </a:xfrm>
          <a:prstGeom prst="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" name="Groupe 40">
            <a:extLst>
              <a:ext uri="{FF2B5EF4-FFF2-40B4-BE49-F238E27FC236}">
                <a16:creationId xmlns:a16="http://schemas.microsoft.com/office/drawing/2014/main" id="{71434734-59C6-9BFA-E64D-52CB941D870A}"/>
              </a:ext>
            </a:extLst>
          </p:cNvPr>
          <p:cNvGrpSpPr/>
          <p:nvPr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5BDB2056-68F3-2163-6CAF-9B8BDDF45030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D316E671-3E4B-CB91-BA28-DDFDABA3CF5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3472B1A7-12C9-55A1-807B-271B2FAC482F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B3BD4DBB-9095-113B-0E86-3960D06C7AA4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F508B88F-8CDA-21B4-D6EA-46F5B653DEC7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7BEE82D3-54E9-38A6-FBB4-F86C66CF72F2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D9307B9A-98AE-879B-EA2A-A13F249832F5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6A26522D-1BCC-6807-9929-184C7DB8404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5A0FDB58-A89E-5A9C-FFF2-57E26B1C0F26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8B10ECAD-4A2B-77E2-DB95-3348D051293A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E7F16B56-A717-1AF9-8A68-A62186A9377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3A54A7A9-9D17-04A5-A78E-2024B88DFE6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A53278FB-2B37-D7B1-ED49-D913C05A0578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827C05C3-2EC4-63C2-901B-DE67EE45C52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D39B54CF-61BE-4C4B-80E5-839FE8728E52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D334A776-3063-CF52-55FA-FBE3E177886F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599BFFA0-7A21-A018-49F3-FBDCF22DBF35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FF0AA033-82A3-5C5A-9A90-09353D442412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/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20A14DA3-4898-5ED9-EFD3-C1B4EEF7B9D6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64B8EEA9-99CC-D416-1814-9EEDFD1520EC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B9881285-4351-8F52-FCC3-CFB4101B0B5D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DB074F36-0954-5B08-192B-EF8A60FC3626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4737AB6-C255-7494-FE82-CBAFE1A56C36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F821521-2675-0A13-8DB5-271110DAEEBF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/>
              </a:p>
            </p:txBody>
          </p:sp>
        </p:grpSp>
      </p:grpSp>
      <p:sp>
        <p:nvSpPr>
          <p:cNvPr id="6" name="Google Shape;57;p13">
            <a:extLst>
              <a:ext uri="{FF2B5EF4-FFF2-40B4-BE49-F238E27FC236}">
                <a16:creationId xmlns:a16="http://schemas.microsoft.com/office/drawing/2014/main" id="{613A4271-7D7F-1633-D9AA-1B0C1D6784FD}"/>
              </a:ext>
            </a:extLst>
          </p:cNvPr>
          <p:cNvSpPr txBox="1"/>
          <p:nvPr/>
        </p:nvSpPr>
        <p:spPr>
          <a:xfrm>
            <a:off x="931037" y="533006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2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{date}</a:t>
            </a:r>
          </a:p>
        </p:txBody>
      </p:sp>
      <p:sp>
        <p:nvSpPr>
          <p:cNvPr id="31" name="Google Shape;57;p13">
            <a:extLst>
              <a:ext uri="{FF2B5EF4-FFF2-40B4-BE49-F238E27FC236}">
                <a16:creationId xmlns:a16="http://schemas.microsoft.com/office/drawing/2014/main" id="{887A7939-2D8C-597F-2124-9A1A6DCDFFEC}"/>
              </a:ext>
            </a:extLst>
          </p:cNvPr>
          <p:cNvSpPr txBox="1"/>
          <p:nvPr/>
        </p:nvSpPr>
        <p:spPr>
          <a:xfrm>
            <a:off x="956391" y="3473460"/>
            <a:ext cx="5697600" cy="12403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-FR" sz="4800" b="1" dirty="0" err="1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member</a:t>
            </a:r>
            <a:r>
              <a:rPr lang="fr-FR" sz="4800" b="1" dirty="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} rejoint l’association Positive AI</a:t>
            </a:r>
            <a:endParaRPr sz="2800" b="1" dirty="0">
              <a:solidFill>
                <a:srgbClr val="1925BB"/>
              </a:solidFill>
              <a:latin typeface="Syne"/>
              <a:ea typeface="Syne"/>
              <a:cs typeface="Syne"/>
              <a:sym typeface="Syne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C26896-6460-9C1A-0A40-4A61525FCB85}"/>
              </a:ext>
            </a:extLst>
          </p:cNvPr>
          <p:cNvCxnSpPr/>
          <p:nvPr/>
        </p:nvCxnSpPr>
        <p:spPr>
          <a:xfrm>
            <a:off x="3805191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BC3025F-C7F7-AF2D-0070-E8609D473AF4}"/>
              </a:ext>
            </a:extLst>
          </p:cNvPr>
          <p:cNvSpPr/>
          <p:nvPr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1EE71606-8CC1-13D3-BBBA-8159AB97803F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Freeform 19">
            <a:extLst>
              <a:ext uri="{FF2B5EF4-FFF2-40B4-BE49-F238E27FC236}">
                <a16:creationId xmlns:a16="http://schemas.microsoft.com/office/drawing/2014/main" id="{433045D2-A9F7-0E57-3A6A-5EF16D595611}"/>
              </a:ext>
            </a:extLst>
          </p:cNvPr>
          <p:cNvSpPr>
            <a:spLocks noChangeAspect="1"/>
          </p:cNvSpPr>
          <p:nvPr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26BA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73C0F3C8-8766-A5D5-9E1D-1EC1E31DDC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6130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C0F3C8-8766-A5D5-9E1D-1EC1E31DDC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80B70489-2970-8035-FBD5-653F00AEEF0B}"/>
              </a:ext>
            </a:extLst>
          </p:cNvPr>
          <p:cNvSpPr/>
          <p:nvPr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5" name="Google Shape;55;p13"/>
          <p:cNvPicPr preferRelativeResize="0"/>
          <p:nvPr/>
        </p:nvPicPr>
        <p:blipFill rotWithShape="1">
          <a:blip r:embed="rId7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13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3"/>
          <p:cNvSpPr txBox="1"/>
          <p:nvPr/>
        </p:nvSpPr>
        <p:spPr>
          <a:xfrm>
            <a:off x="842225" y="3051548"/>
            <a:ext cx="5697600" cy="4725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L’IA Responsable pa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sz="3000" b="1" dirty="0">
                <a:solidFill>
                  <a:srgbClr val="FFFFFF"/>
                </a:solidFill>
                <a:latin typeface="Syne"/>
                <a:ea typeface="Syne"/>
                <a:cs typeface="Syne"/>
                <a:sym typeface="Syne"/>
              </a:rPr>
              <a:t>ceux qui la pratiquent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sz="1100" dirty="0">
              <a:solidFill>
                <a:schemeClr val="dk1"/>
              </a:solidFill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’association Positive AI est un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Do Tank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tre mission est d’éclairer et de </a:t>
            </a:r>
            <a:r>
              <a:rPr lang="fr-FR" dirty="0" err="1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co-construire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avec nos membres un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ratique responsable de l’IA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et d’accompagner à la mise en œuvre du prochain cadre réglementaire d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l’AI </a:t>
            </a:r>
            <a:r>
              <a:rPr lang="fr-FR" dirty="0" err="1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Act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Les entreprises membres de Positive AI bénéficient de notre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plateforme communautaire et collaborative 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Nous accueillons les </a:t>
            </a:r>
            <a:r>
              <a:rPr lang="fr-FR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organisations de tous secteurs et de toutes tailles</a:t>
            </a:r>
            <a:r>
              <a:rPr lang="fr-FR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 pour renforcer la </a:t>
            </a:r>
            <a:r>
              <a:rPr lang="fr-FR" dirty="0">
                <a:solidFill>
                  <a:schemeClr val="bg1"/>
                </a:solidFill>
                <a:latin typeface="Syne Medium"/>
                <a:ea typeface="Syne Medium"/>
                <a:cs typeface="Syne Medium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65" name="Google Shape;65;p13"/>
          <p:cNvPicPr preferRelativeResize="0"/>
          <p:nvPr/>
        </p:nvPicPr>
        <p:blipFill rotWithShape="1">
          <a:blip r:embed="rId9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4" descr="logo de La Poste (entreprise française)">
            <a:extLst>
              <a:ext uri="{FF2B5EF4-FFF2-40B4-BE49-F238E27FC236}">
                <a16:creationId xmlns:a16="http://schemas.microsoft.com/office/drawing/2014/main" id="{7EAB5037-B70A-C8BC-A8C7-D85CBEB4D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877E00-6120-3F23-DE39-C5236EDB93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5" name="Picture 2" descr="logo de Carrefour (enseigne)">
            <a:extLst>
              <a:ext uri="{FF2B5EF4-FFF2-40B4-BE49-F238E27FC236}">
                <a16:creationId xmlns:a16="http://schemas.microsoft.com/office/drawing/2014/main" id="{E0A4F9A0-2C7D-7132-15AF-4F7B9A788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69DA036A-DF3E-D56F-6832-1154EDBB3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logo de Groupe ADP">
            <a:extLst>
              <a:ext uri="{FF2B5EF4-FFF2-40B4-BE49-F238E27FC236}">
                <a16:creationId xmlns:a16="http://schemas.microsoft.com/office/drawing/2014/main" id="{62B7338C-E3ED-7F34-5AD5-360E3CDEE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ndefined">
            <a:extLst>
              <a:ext uri="{FF2B5EF4-FFF2-40B4-BE49-F238E27FC236}">
                <a16:creationId xmlns:a16="http://schemas.microsoft.com/office/drawing/2014/main" id="{2EE61243-86C0-DC82-D315-6A873167E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Logo de Société nationale des chemins de fer français">
            <a:extLst>
              <a:ext uri="{FF2B5EF4-FFF2-40B4-BE49-F238E27FC236}">
                <a16:creationId xmlns:a16="http://schemas.microsoft.com/office/drawing/2014/main" id="{3B0BE1D4-6C0E-A538-803B-09DDD186A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34B592DD-C9AF-D5B1-9864-2A9116CF65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undefined">
            <a:extLst>
              <a:ext uri="{FF2B5EF4-FFF2-40B4-BE49-F238E27FC236}">
                <a16:creationId xmlns:a16="http://schemas.microsoft.com/office/drawing/2014/main" id="{ABB3473D-DB19-195C-2D67-D21101B06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logo de Doctrine (site web)">
            <a:extLst>
              <a:ext uri="{FF2B5EF4-FFF2-40B4-BE49-F238E27FC236}">
                <a16:creationId xmlns:a16="http://schemas.microsoft.com/office/drawing/2014/main" id="{516B2291-4480-70C1-8F72-360CBEBF9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14E395B-2DEC-3BE8-B984-DC7C13C4C130}"/>
              </a:ext>
            </a:extLst>
          </p:cNvPr>
          <p:cNvCxnSpPr/>
          <p:nvPr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4616713-4F21-D275-6AA9-C795E1882ACA}"/>
              </a:ext>
            </a:extLst>
          </p:cNvPr>
          <p:cNvSpPr txBox="1"/>
          <p:nvPr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>
                <a:solidFill>
                  <a:srgbClr val="1925BB"/>
                </a:solidFill>
                <a:latin typeface="Syne"/>
                <a:ea typeface="Syne"/>
                <a:cs typeface="Syne"/>
                <a:sym typeface="Syne"/>
              </a:rPr>
              <a:t>Nos membres</a:t>
            </a:r>
            <a:endParaRPr lang="fr-FR" sz="1800" dirty="0">
              <a:solidFill>
                <a:srgbClr val="1925BB"/>
              </a:solidFill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A41336C1-4036-3F60-6A4C-95F4D1B2CD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330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336C1-4036-3F60-6A4C-95F4D1B2C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nip Diagonal Corner of Rectangle 39">
            <a:extLst>
              <a:ext uri="{FF2B5EF4-FFF2-40B4-BE49-F238E27FC236}">
                <a16:creationId xmlns:a16="http://schemas.microsoft.com/office/drawing/2014/main" id="{03CE725A-C317-9F1C-2AAE-CA303F48AF59}"/>
              </a:ext>
            </a:extLst>
          </p:cNvPr>
          <p:cNvSpPr/>
          <p:nvPr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DB48CE2-3AD0-8B7A-C944-E27613A27F1C}"/>
              </a:ext>
            </a:extLst>
          </p:cNvPr>
          <p:cNvSpPr/>
          <p:nvPr/>
        </p:nvSpPr>
        <p:spPr>
          <a:xfrm>
            <a:off x="686376" y="5458987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71" name="Google Shape;71;p14"/>
          <p:cNvSpPr txBox="1"/>
          <p:nvPr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La Communauté Positive AI, une plateforme collaborative, vous donnant accès à  </a:t>
            </a:r>
            <a:endParaRPr sz="18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2" name="Google Shape;72;p14"/>
          <p:cNvSpPr txBox="1"/>
          <p:nvPr/>
        </p:nvSpPr>
        <p:spPr>
          <a:xfrm>
            <a:off x="1351570" y="2068281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webinaires mensuels inspirants</a:t>
            </a:r>
            <a:endParaRPr sz="16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enjeux, impacts, prospective) avec des interventions d’experts de haut niveau.</a:t>
            </a:r>
            <a:endParaRPr sz="28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3" name="Google Shape;73;p14"/>
          <p:cNvSpPr txBox="1"/>
          <p:nvPr/>
        </p:nvSpPr>
        <p:spPr>
          <a:xfrm>
            <a:off x="1351570" y="2940966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ateliers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en petits groupes pour un travail collaboratif en intelligence collective (thèmes juridique</a:t>
            </a:r>
            <a:r>
              <a:rPr lang="en-GB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, technique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et business</a:t>
            </a:r>
            <a:r>
              <a:rPr lang="en-GB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)</a:t>
            </a:r>
            <a:endParaRPr lang="en-GB" sz="16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76" name="Google Shape;76;p14"/>
          <p:cNvSpPr txBox="1"/>
          <p:nvPr/>
        </p:nvSpPr>
        <p:spPr>
          <a:xfrm>
            <a:off x="1351570" y="5373201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diagnostic flash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s’évaluer rapidement et identifier les points d’amélioration  </a:t>
            </a:r>
            <a:r>
              <a:rPr lang="fr" sz="10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Réalisé par un tiers- auditeur)</a:t>
            </a:r>
            <a:endParaRPr sz="9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78" name="Google Shape;78;p1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14"/>
          <p:cNvSpPr txBox="1"/>
          <p:nvPr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nseignemen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7DCBD0-D7EF-2959-F900-CF40C0FE3CF6}"/>
              </a:ext>
            </a:extLst>
          </p:cNvPr>
          <p:cNvGrpSpPr/>
          <p:nvPr/>
        </p:nvGrpSpPr>
        <p:grpSpPr>
          <a:xfrm>
            <a:off x="5488414" y="9810149"/>
            <a:ext cx="1737302" cy="591670"/>
            <a:chOff x="695800" y="9657152"/>
            <a:chExt cx="1737302" cy="591670"/>
          </a:xfrm>
        </p:grpSpPr>
        <p:sp>
          <p:nvSpPr>
            <p:cNvPr id="83" name="Google Shape;83;p14"/>
            <p:cNvSpPr txBox="1"/>
            <p:nvPr/>
          </p:nvSpPr>
          <p:spPr>
            <a:xfrm>
              <a:off x="842635" y="9657152"/>
              <a:ext cx="1590467" cy="5916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2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150">
                  <a:solidFill>
                    <a:srgbClr val="1926BA"/>
                  </a:solidFill>
                  <a:uFill>
                    <a:noFill/>
                  </a:uFill>
                  <a:latin typeface="Syne"/>
                  <a:ea typeface="Syne"/>
                  <a:cs typeface="Syne"/>
                  <a:sym typeface="Syne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ositive AI</a:t>
              </a:r>
              <a:endParaRPr sz="115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endParaRPr>
            </a:p>
          </p:txBody>
        </p:sp>
        <p:pic>
          <p:nvPicPr>
            <p:cNvPr id="92" name="Google Shape;92;p14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695800" y="9906826"/>
              <a:ext cx="190325" cy="19032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" name="Google Shape;75;p14"/>
          <p:cNvSpPr txBox="1"/>
          <p:nvPr/>
        </p:nvSpPr>
        <p:spPr>
          <a:xfrm>
            <a:off x="1351570" y="4500516"/>
            <a:ext cx="5677924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es formations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pécifiques sur l’IA Responsable déclinées pour les data scientists, le top management et les responsables métier,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çues avec</a:t>
            </a:r>
            <a:endParaRPr sz="12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93" name="Google Shape;93;p1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2425642" y="5084497"/>
            <a:ext cx="1048452" cy="21543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79;p14">
            <a:extLst>
              <a:ext uri="{FF2B5EF4-FFF2-40B4-BE49-F238E27FC236}">
                <a16:creationId xmlns:a16="http://schemas.microsoft.com/office/drawing/2014/main" id="{CDE41D98-7996-1776-8D28-DFEE49388BBE}"/>
              </a:ext>
            </a:extLst>
          </p:cNvPr>
          <p:cNvSpPr txBox="1"/>
          <p:nvPr/>
        </p:nvSpPr>
        <p:spPr>
          <a:xfrm>
            <a:off x="938083" y="8420706"/>
            <a:ext cx="2122935" cy="99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firstname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name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éférent {</a:t>
            </a:r>
            <a:r>
              <a:rPr lang="fr" sz="1100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member</a:t>
            </a: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pour Positive AI</a:t>
            </a:r>
          </a:p>
        </p:txBody>
      </p:sp>
      <p:sp>
        <p:nvSpPr>
          <p:cNvPr id="15" name="Google Shape;79;p14">
            <a:extLst>
              <a:ext uri="{FF2B5EF4-FFF2-40B4-BE49-F238E27FC236}">
                <a16:creationId xmlns:a16="http://schemas.microsoft.com/office/drawing/2014/main" id="{D4521E86-4B36-1008-8073-D44CFDAE1D51}"/>
              </a:ext>
            </a:extLst>
          </p:cNvPr>
          <p:cNvSpPr txBox="1"/>
          <p:nvPr/>
        </p:nvSpPr>
        <p:spPr>
          <a:xfrm>
            <a:off x="938083" y="9647824"/>
            <a:ext cx="2122935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 </a:t>
            </a:r>
            <a:r>
              <a:rPr lang="fr" sz="1200" b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treiff</a:t>
            </a:r>
            <a:endParaRPr lang="fr" sz="1200" b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irecteur Général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Délégué Positive AI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hilippe.streiff@positive.ai</a:t>
            </a:r>
            <a:endParaRPr sz="1100" i="1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18" name="Google Shape;77;p14">
            <a:extLst>
              <a:ext uri="{FF2B5EF4-FFF2-40B4-BE49-F238E27FC236}">
                <a16:creationId xmlns:a16="http://schemas.microsoft.com/office/drawing/2014/main" id="{81129DB3-41D4-D4A8-EE53-5C1C34DA33DB}"/>
              </a:ext>
            </a:extLst>
          </p:cNvPr>
          <p:cNvSpPr txBox="1"/>
          <p:nvPr/>
        </p:nvSpPr>
        <p:spPr>
          <a:xfrm>
            <a:off x="1351570" y="6201642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label</a:t>
            </a:r>
            <a:r>
              <a:rPr lang="fr" sz="12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 </a:t>
            </a:r>
            <a:r>
              <a:rPr lang="fr-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mesurer la maturité en IA éthique et responsable des entreprises et proposer des axes d’amélioration </a:t>
            </a:r>
            <a:r>
              <a:rPr lang="fr" sz="9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(Réalisé par un tiers- auditeur)</a:t>
            </a:r>
            <a:endParaRPr sz="800" dirty="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19" name="Google Shape;74;p14">
            <a:extLst>
              <a:ext uri="{FF2B5EF4-FFF2-40B4-BE49-F238E27FC236}">
                <a16:creationId xmlns:a16="http://schemas.microsoft.com/office/drawing/2014/main" id="{512E695C-9F7C-11F1-B762-3DC615CCB522}"/>
              </a:ext>
            </a:extLst>
          </p:cNvPr>
          <p:cNvSpPr txBox="1"/>
          <p:nvPr/>
        </p:nvSpPr>
        <p:spPr>
          <a:xfrm>
            <a:off x="1351570" y="3627831"/>
            <a:ext cx="5677924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fr" sz="16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Un référentiel technique coconstruit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pour centraliser les bonnes pratiques (questions, actions, outils) afin de progresser dans la mise en œuvre des Systèmes d’IA </a:t>
            </a:r>
            <a:r>
              <a:rPr lang="fr" sz="120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éthiques et </a:t>
            </a:r>
            <a:r>
              <a:rPr lang="fr" sz="1200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responsables</a:t>
            </a:r>
            <a:endParaRPr lang="en-FR" sz="1050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10DEEEB2-54EB-A6A2-C867-CC4FBE3D2317}"/>
              </a:ext>
            </a:extLst>
          </p:cNvPr>
          <p:cNvSpPr txBox="1"/>
          <p:nvPr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contenus et webinaires</a:t>
            </a:r>
            <a:endParaRPr lang="fr" sz="1800" b="1">
              <a:solidFill>
                <a:srgbClr val="1926BA"/>
              </a:solidFill>
              <a:latin typeface="Syne"/>
              <a:ea typeface="Syne"/>
              <a:cs typeface="Syne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BD9786E8-131F-17A5-ACCD-6EE148076A6D}"/>
              </a:ext>
            </a:extLst>
          </p:cNvPr>
          <p:cNvSpPr txBox="1"/>
          <p:nvPr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actualité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E7EBEA9-F799-E9BD-8284-81C236740793}"/>
              </a:ext>
            </a:extLst>
          </p:cNvPr>
          <p:cNvSpPr/>
          <p:nvPr/>
        </p:nvSpPr>
        <p:spPr>
          <a:xfrm>
            <a:off x="686376" y="6286166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65CA2B-9FC6-2D73-9949-D1701DCBF885}"/>
              </a:ext>
            </a:extLst>
          </p:cNvPr>
          <p:cNvSpPr/>
          <p:nvPr/>
        </p:nvSpPr>
        <p:spPr>
          <a:xfrm>
            <a:off x="686376" y="4631806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306EDF9-CF40-96D9-2A4C-81C71900C0AC}"/>
              </a:ext>
            </a:extLst>
          </p:cNvPr>
          <p:cNvSpPr/>
          <p:nvPr/>
        </p:nvSpPr>
        <p:spPr>
          <a:xfrm>
            <a:off x="686376" y="3804625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8DB38F0-B2E3-4391-2D28-06D1E7BDD6C2}"/>
              </a:ext>
            </a:extLst>
          </p:cNvPr>
          <p:cNvSpPr/>
          <p:nvPr/>
        </p:nvSpPr>
        <p:spPr>
          <a:xfrm>
            <a:off x="686376" y="2977444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86F520E-9F36-15B5-6CA0-7DACF1ED6EAE}"/>
              </a:ext>
            </a:extLst>
          </p:cNvPr>
          <p:cNvSpPr/>
          <p:nvPr/>
        </p:nvSpPr>
        <p:spPr>
          <a:xfrm>
            <a:off x="686376" y="2150263"/>
            <a:ext cx="589091" cy="58909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pic>
        <p:nvPicPr>
          <p:cNvPr id="33" name="Google Shape;58;p13">
            <a:extLst>
              <a:ext uri="{FF2B5EF4-FFF2-40B4-BE49-F238E27FC236}">
                <a16:creationId xmlns:a16="http://schemas.microsoft.com/office/drawing/2014/main" id="{607F6A2A-A843-328E-A358-850936B3C658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773668" y="3944692"/>
            <a:ext cx="404227" cy="3153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</p:pic>
      <p:pic>
        <p:nvPicPr>
          <p:cNvPr id="34" name="Google Shape;62;p13">
            <a:extLst>
              <a:ext uri="{FF2B5EF4-FFF2-40B4-BE49-F238E27FC236}">
                <a16:creationId xmlns:a16="http://schemas.microsoft.com/office/drawing/2014/main" id="{DC51E5A9-2CDE-947D-A08E-D84DBC71C092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730846" y="4798003"/>
            <a:ext cx="489115" cy="22855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60;p13">
            <a:extLst>
              <a:ext uri="{FF2B5EF4-FFF2-40B4-BE49-F238E27FC236}">
                <a16:creationId xmlns:a16="http://schemas.microsoft.com/office/drawing/2014/main" id="{D9381E11-FC27-42C7-8FCC-A65AFB5DF3F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828272" y="5552183"/>
            <a:ext cx="294260" cy="39056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oogle Shape;59;p13">
            <a:extLst>
              <a:ext uri="{FF2B5EF4-FFF2-40B4-BE49-F238E27FC236}">
                <a16:creationId xmlns:a16="http://schemas.microsoft.com/office/drawing/2014/main" id="{00B5A12F-9821-A097-9490-ADE88653088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827538" y="6402686"/>
            <a:ext cx="324184" cy="35505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BBC2B9C-32D0-7F96-27B8-011A34AD752A}"/>
              </a:ext>
            </a:extLst>
          </p:cNvPr>
          <p:cNvCxnSpPr/>
          <p:nvPr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817F471-ACB4-C041-DD10-542C950AE2BF}"/>
              </a:ext>
            </a:extLst>
          </p:cNvPr>
          <p:cNvCxnSpPr/>
          <p:nvPr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Google Shape;79;p14">
            <a:hlinkClick r:id="rId14"/>
            <a:extLst>
              <a:ext uri="{FF2B5EF4-FFF2-40B4-BE49-F238E27FC236}">
                <a16:creationId xmlns:a16="http://schemas.microsoft.com/office/drawing/2014/main" id="{BAB85EA2-D655-6B6A-3264-DD2AA5C622E9}"/>
              </a:ext>
            </a:extLst>
          </p:cNvPr>
          <p:cNvSpPr txBox="1"/>
          <p:nvPr/>
        </p:nvSpPr>
        <p:spPr>
          <a:xfrm>
            <a:off x="3190198" y="8798590"/>
            <a:ext cx="1702213" cy="440864"/>
          </a:xfrm>
          <a:prstGeom prst="roundRect">
            <a:avLst>
              <a:gd name="adj" fmla="val 50000"/>
            </a:avLst>
          </a:prstGeom>
          <a:solidFill>
            <a:srgbClr val="1925BB"/>
          </a:solidFill>
          <a:ln>
            <a:noFill/>
          </a:ln>
        </p:spPr>
        <p:txBody>
          <a:bodyPr spcFirstLastPara="1" wrap="none" lIns="0" tIns="0" rIns="0" bIns="0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b="1" dirty="0">
                <a:solidFill>
                  <a:schemeClr val="bg1"/>
                </a:solidFill>
                <a:latin typeface="Syne"/>
                <a:ea typeface="Syne"/>
                <a:cs typeface="Syne"/>
                <a:sym typeface="Syne"/>
              </a:rPr>
              <a:t>Je m’inscris !</a:t>
            </a:r>
            <a:endParaRPr dirty="0">
              <a:solidFill>
                <a:schemeClr val="bg1"/>
              </a:solidFill>
              <a:latin typeface="Syne"/>
              <a:ea typeface="Syne"/>
              <a:cs typeface="Syne"/>
              <a:sym typeface="Syne"/>
            </a:endParaRPr>
          </a:p>
        </p:txBody>
      </p:sp>
      <p:grpSp>
        <p:nvGrpSpPr>
          <p:cNvPr id="49" name="bcgIcons_Biometric Fingerprint ">
            <a:extLst>
              <a:ext uri="{FF2B5EF4-FFF2-40B4-BE49-F238E27FC236}">
                <a16:creationId xmlns:a16="http://schemas.microsoft.com/office/drawing/2014/main" id="{6E8E38A2-58FE-31E7-1547-D7658801F4FD}"/>
              </a:ext>
            </a:extLst>
          </p:cNvPr>
          <p:cNvGrpSpPr>
            <a:grpSpLocks noChangeAspect="1"/>
          </p:cNvGrpSpPr>
          <p:nvPr/>
        </p:nvGrpSpPr>
        <p:grpSpPr>
          <a:xfrm rot="19785669">
            <a:off x="4330444" y="9037934"/>
            <a:ext cx="698839" cy="698839"/>
            <a:chOff x="2053680" y="2605087"/>
            <a:chExt cx="1647825" cy="1647825"/>
          </a:xfrm>
        </p:grpSpPr>
        <p:sp>
          <p:nvSpPr>
            <p:cNvPr id="50" name="AutoShape 69">
              <a:extLst>
                <a:ext uri="{FF2B5EF4-FFF2-40B4-BE49-F238E27FC236}">
                  <a16:creationId xmlns:a16="http://schemas.microsoft.com/office/drawing/2014/main" id="{B8F21498-0E41-ADD1-92C8-BFF070C798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53680" y="2605087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4F61C59-4DEB-BBAE-131A-C0E7E9B2E3A4}"/>
                </a:ext>
              </a:extLst>
            </p:cNvPr>
            <p:cNvGrpSpPr/>
            <p:nvPr/>
          </p:nvGrpSpPr>
          <p:grpSpPr>
            <a:xfrm>
              <a:off x="2469855" y="2774450"/>
              <a:ext cx="803119" cy="1307592"/>
              <a:chOff x="2469855" y="2774450"/>
              <a:chExt cx="803119" cy="1307592"/>
            </a:xfrm>
          </p:grpSpPr>
          <p:sp>
            <p:nvSpPr>
              <p:cNvPr id="52" name="Freeform 71">
                <a:extLst>
                  <a:ext uri="{FF2B5EF4-FFF2-40B4-BE49-F238E27FC236}">
                    <a16:creationId xmlns:a16="http://schemas.microsoft.com/office/drawing/2014/main" id="{F9A55858-1341-9831-08D6-F37C49E0C4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2151" y="2774450"/>
                <a:ext cx="577100" cy="1307592"/>
              </a:xfrm>
              <a:custGeom>
                <a:avLst/>
                <a:gdLst>
                  <a:gd name="T0" fmla="*/ 235 w 807"/>
                  <a:gd name="T1" fmla="*/ 168 h 1828"/>
                  <a:gd name="T2" fmla="*/ 73 w 807"/>
                  <a:gd name="T3" fmla="*/ 331 h 1828"/>
                  <a:gd name="T4" fmla="*/ 73 w 807"/>
                  <a:gd name="T5" fmla="*/ 403 h 1828"/>
                  <a:gd name="T6" fmla="*/ 0 w 807"/>
                  <a:gd name="T7" fmla="*/ 234 h 1828"/>
                  <a:gd name="T8" fmla="*/ 235 w 807"/>
                  <a:gd name="T9" fmla="*/ 0 h 1828"/>
                  <a:gd name="T10" fmla="*/ 469 w 807"/>
                  <a:gd name="T11" fmla="*/ 234 h 1828"/>
                  <a:gd name="T12" fmla="*/ 398 w 807"/>
                  <a:gd name="T13" fmla="*/ 402 h 1828"/>
                  <a:gd name="T14" fmla="*/ 398 w 807"/>
                  <a:gd name="T15" fmla="*/ 331 h 1828"/>
                  <a:gd name="T16" fmla="*/ 235 w 807"/>
                  <a:gd name="T17" fmla="*/ 168 h 1828"/>
                  <a:gd name="T18" fmla="*/ 807 w 807"/>
                  <a:gd name="T19" fmla="*/ 1483 h 1828"/>
                  <a:gd name="T20" fmla="*/ 785 w 807"/>
                  <a:gd name="T21" fmla="*/ 1466 h 1828"/>
                  <a:gd name="T22" fmla="*/ 148 w 807"/>
                  <a:gd name="T23" fmla="*/ 1466 h 1828"/>
                  <a:gd name="T24" fmla="*/ 126 w 807"/>
                  <a:gd name="T25" fmla="*/ 1488 h 1828"/>
                  <a:gd name="T26" fmla="*/ 126 w 807"/>
                  <a:gd name="T27" fmla="*/ 1501 h 1828"/>
                  <a:gd name="T28" fmla="*/ 126 w 807"/>
                  <a:gd name="T29" fmla="*/ 1806 h 1828"/>
                  <a:gd name="T30" fmla="*/ 148 w 807"/>
                  <a:gd name="T31" fmla="*/ 1828 h 1828"/>
                  <a:gd name="T32" fmla="*/ 785 w 807"/>
                  <a:gd name="T33" fmla="*/ 1828 h 1828"/>
                  <a:gd name="T34" fmla="*/ 807 w 807"/>
                  <a:gd name="T35" fmla="*/ 1806 h 1828"/>
                  <a:gd name="T36" fmla="*/ 807 w 807"/>
                  <a:gd name="T37" fmla="*/ 1488 h 1828"/>
                  <a:gd name="T38" fmla="*/ 807 w 807"/>
                  <a:gd name="T39" fmla="*/ 1483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7" h="1828">
                    <a:moveTo>
                      <a:pt x="235" y="168"/>
                    </a:moveTo>
                    <a:cubicBezTo>
                      <a:pt x="146" y="168"/>
                      <a:pt x="73" y="241"/>
                      <a:pt x="73" y="331"/>
                    </a:cubicBezTo>
                    <a:cubicBezTo>
                      <a:pt x="73" y="403"/>
                      <a:pt x="73" y="403"/>
                      <a:pt x="73" y="403"/>
                    </a:cubicBezTo>
                    <a:cubicBezTo>
                      <a:pt x="28" y="360"/>
                      <a:pt x="0" y="300"/>
                      <a:pt x="0" y="234"/>
                    </a:cubicBezTo>
                    <a:cubicBezTo>
                      <a:pt x="0" y="105"/>
                      <a:pt x="105" y="0"/>
                      <a:pt x="235" y="0"/>
                    </a:cubicBezTo>
                    <a:cubicBezTo>
                      <a:pt x="364" y="0"/>
                      <a:pt x="469" y="105"/>
                      <a:pt x="469" y="234"/>
                    </a:cubicBezTo>
                    <a:cubicBezTo>
                      <a:pt x="469" y="300"/>
                      <a:pt x="442" y="359"/>
                      <a:pt x="398" y="402"/>
                    </a:cubicBezTo>
                    <a:cubicBezTo>
                      <a:pt x="398" y="331"/>
                      <a:pt x="398" y="331"/>
                      <a:pt x="398" y="331"/>
                    </a:cubicBezTo>
                    <a:cubicBezTo>
                      <a:pt x="398" y="241"/>
                      <a:pt x="325" y="168"/>
                      <a:pt x="235" y="168"/>
                    </a:cubicBezTo>
                    <a:close/>
                    <a:moveTo>
                      <a:pt x="807" y="1483"/>
                    </a:moveTo>
                    <a:cubicBezTo>
                      <a:pt x="805" y="1474"/>
                      <a:pt x="796" y="1466"/>
                      <a:pt x="785" y="1466"/>
                    </a:cubicBezTo>
                    <a:cubicBezTo>
                      <a:pt x="148" y="1466"/>
                      <a:pt x="148" y="1466"/>
                      <a:pt x="148" y="1466"/>
                    </a:cubicBezTo>
                    <a:cubicBezTo>
                      <a:pt x="136" y="1466"/>
                      <a:pt x="126" y="1476"/>
                      <a:pt x="126" y="1488"/>
                    </a:cubicBezTo>
                    <a:cubicBezTo>
                      <a:pt x="126" y="1501"/>
                      <a:pt x="126" y="1501"/>
                      <a:pt x="126" y="1501"/>
                    </a:cubicBezTo>
                    <a:cubicBezTo>
                      <a:pt x="126" y="1806"/>
                      <a:pt x="126" y="1806"/>
                      <a:pt x="126" y="1806"/>
                    </a:cubicBezTo>
                    <a:cubicBezTo>
                      <a:pt x="126" y="1819"/>
                      <a:pt x="136" y="1828"/>
                      <a:pt x="148" y="1828"/>
                    </a:cubicBezTo>
                    <a:cubicBezTo>
                      <a:pt x="785" y="1828"/>
                      <a:pt x="785" y="1828"/>
                      <a:pt x="785" y="1828"/>
                    </a:cubicBezTo>
                    <a:cubicBezTo>
                      <a:pt x="797" y="1828"/>
                      <a:pt x="807" y="1819"/>
                      <a:pt x="807" y="1806"/>
                    </a:cubicBezTo>
                    <a:cubicBezTo>
                      <a:pt x="807" y="1488"/>
                      <a:pt x="807" y="1488"/>
                      <a:pt x="807" y="1488"/>
                    </a:cubicBezTo>
                    <a:cubicBezTo>
                      <a:pt x="807" y="1486"/>
                      <a:pt x="807" y="1485"/>
                      <a:pt x="807" y="148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72">
                <a:extLst>
                  <a:ext uri="{FF2B5EF4-FFF2-40B4-BE49-F238E27FC236}">
                    <a16:creationId xmlns:a16="http://schemas.microsoft.com/office/drawing/2014/main" id="{AEE27C69-3E30-3E6B-D991-FD63440A86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9855" y="2926335"/>
                <a:ext cx="803119" cy="889609"/>
              </a:xfrm>
              <a:custGeom>
                <a:avLst/>
                <a:gdLst>
                  <a:gd name="T0" fmla="*/ 993 w 1123"/>
                  <a:gd name="T1" fmla="*/ 1214 h 1244"/>
                  <a:gd name="T2" fmla="*/ 928 w 1123"/>
                  <a:gd name="T3" fmla="*/ 620 h 1244"/>
                  <a:gd name="T4" fmla="*/ 885 w 1123"/>
                  <a:gd name="T5" fmla="*/ 620 h 1244"/>
                  <a:gd name="T6" fmla="*/ 734 w 1123"/>
                  <a:gd name="T7" fmla="*/ 660 h 1244"/>
                  <a:gd name="T8" fmla="*/ 690 w 1123"/>
                  <a:gd name="T9" fmla="*/ 520 h 1244"/>
                  <a:gd name="T10" fmla="*/ 539 w 1123"/>
                  <a:gd name="T11" fmla="*/ 642 h 1244"/>
                  <a:gd name="T12" fmla="*/ 496 w 1123"/>
                  <a:gd name="T13" fmla="*/ 520 h 1244"/>
                  <a:gd name="T14" fmla="*/ 420 w 1123"/>
                  <a:gd name="T15" fmla="*/ 44 h 1244"/>
                  <a:gd name="T16" fmla="*/ 345 w 1123"/>
                  <a:gd name="T17" fmla="*/ 837 h 1244"/>
                  <a:gd name="T18" fmla="*/ 94 w 1123"/>
                  <a:gd name="T19" fmla="*/ 670 h 1244"/>
                  <a:gd name="T20" fmla="*/ 29 w 1123"/>
                  <a:gd name="T21" fmla="*/ 788 h 1244"/>
                  <a:gd name="T22" fmla="*/ 301 w 1123"/>
                  <a:gd name="T23" fmla="*/ 307 h 1244"/>
                  <a:gd name="T24" fmla="*/ 539 w 1123"/>
                  <a:gd name="T25" fmla="*/ 119 h 1244"/>
                  <a:gd name="T26" fmla="*/ 615 w 1123"/>
                  <a:gd name="T27" fmla="*/ 401 h 1244"/>
                  <a:gd name="T28" fmla="*/ 993 w 1123"/>
                  <a:gd name="T29" fmla="*/ 512 h 1244"/>
                  <a:gd name="T30" fmla="*/ 432 w 1123"/>
                  <a:gd name="T31" fmla="*/ 223 h 1244"/>
                  <a:gd name="T32" fmla="*/ 396 w 1123"/>
                  <a:gd name="T33" fmla="*/ 237 h 1244"/>
                  <a:gd name="T34" fmla="*/ 419 w 1123"/>
                  <a:gd name="T35" fmla="*/ 232 h 1244"/>
                  <a:gd name="T36" fmla="*/ 438 w 1123"/>
                  <a:gd name="T37" fmla="*/ 237 h 1244"/>
                  <a:gd name="T38" fmla="*/ 449 w 1123"/>
                  <a:gd name="T39" fmla="*/ 218 h 1244"/>
                  <a:gd name="T40" fmla="*/ 412 w 1123"/>
                  <a:gd name="T41" fmla="*/ 208 h 1244"/>
                  <a:gd name="T42" fmla="*/ 388 w 1123"/>
                  <a:gd name="T43" fmla="*/ 231 h 1244"/>
                  <a:gd name="T44" fmla="*/ 416 w 1123"/>
                  <a:gd name="T45" fmla="*/ 217 h 1244"/>
                  <a:gd name="T46" fmla="*/ 424 w 1123"/>
                  <a:gd name="T47" fmla="*/ 214 h 1244"/>
                  <a:gd name="T48" fmla="*/ 449 w 1123"/>
                  <a:gd name="T49" fmla="*/ 225 h 1244"/>
                  <a:gd name="T50" fmla="*/ 446 w 1123"/>
                  <a:gd name="T51" fmla="*/ 188 h 1244"/>
                  <a:gd name="T52" fmla="*/ 407 w 1123"/>
                  <a:gd name="T53" fmla="*/ 188 h 1244"/>
                  <a:gd name="T54" fmla="*/ 377 w 1123"/>
                  <a:gd name="T55" fmla="*/ 219 h 1244"/>
                  <a:gd name="T56" fmla="*/ 413 w 1123"/>
                  <a:gd name="T57" fmla="*/ 195 h 1244"/>
                  <a:gd name="T58" fmla="*/ 456 w 1123"/>
                  <a:gd name="T59" fmla="*/ 210 h 1244"/>
                  <a:gd name="T60" fmla="*/ 370 w 1123"/>
                  <a:gd name="T61" fmla="*/ 186 h 1244"/>
                  <a:gd name="T62" fmla="*/ 432 w 1123"/>
                  <a:gd name="T63" fmla="*/ 127 h 1244"/>
                  <a:gd name="T64" fmla="*/ 365 w 1123"/>
                  <a:gd name="T65" fmla="*/ 178 h 1244"/>
                  <a:gd name="T66" fmla="*/ 369 w 1123"/>
                  <a:gd name="T67" fmla="*/ 186 h 1244"/>
                  <a:gd name="T68" fmla="*/ 417 w 1123"/>
                  <a:gd name="T69" fmla="*/ 177 h 1244"/>
                  <a:gd name="T70" fmla="*/ 435 w 1123"/>
                  <a:gd name="T71" fmla="*/ 107 h 1244"/>
                  <a:gd name="T72" fmla="*/ 361 w 1123"/>
                  <a:gd name="T73" fmla="*/ 160 h 1244"/>
                  <a:gd name="T74" fmla="*/ 404 w 1123"/>
                  <a:gd name="T75" fmla="*/ 139 h 1244"/>
                  <a:gd name="T76" fmla="*/ 435 w 1123"/>
                  <a:gd name="T77" fmla="*/ 150 h 1244"/>
                  <a:gd name="T78" fmla="*/ 370 w 1123"/>
                  <a:gd name="T79" fmla="*/ 201 h 1244"/>
                  <a:gd name="T80" fmla="*/ 368 w 1123"/>
                  <a:gd name="T81" fmla="*/ 146 h 1244"/>
                  <a:gd name="T82" fmla="*/ 390 w 1123"/>
                  <a:gd name="T83" fmla="*/ 129 h 1244"/>
                  <a:gd name="T84" fmla="*/ 442 w 1123"/>
                  <a:gd name="T85" fmla="*/ 100 h 1244"/>
                  <a:gd name="T86" fmla="*/ 383 w 1123"/>
                  <a:gd name="T87" fmla="*/ 122 h 1244"/>
                  <a:gd name="T88" fmla="*/ 362 w 1123"/>
                  <a:gd name="T89" fmla="*/ 143 h 1244"/>
                  <a:gd name="T90" fmla="*/ 360 w 1123"/>
                  <a:gd name="T91" fmla="*/ 120 h 1244"/>
                  <a:gd name="T92" fmla="*/ 369 w 1123"/>
                  <a:gd name="T93" fmla="*/ 126 h 1244"/>
                  <a:gd name="T94" fmla="*/ 470 w 1123"/>
                  <a:gd name="T95" fmla="*/ 150 h 1244"/>
                  <a:gd name="T96" fmla="*/ 467 w 1123"/>
                  <a:gd name="T97" fmla="*/ 100 h 1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3" h="1244">
                    <a:moveTo>
                      <a:pt x="1123" y="642"/>
                    </a:moveTo>
                    <a:cubicBezTo>
                      <a:pt x="1123" y="973"/>
                      <a:pt x="1123" y="973"/>
                      <a:pt x="1123" y="973"/>
                    </a:cubicBezTo>
                    <a:cubicBezTo>
                      <a:pt x="1123" y="1070"/>
                      <a:pt x="1091" y="1158"/>
                      <a:pt x="1026" y="1242"/>
                    </a:cubicBezTo>
                    <a:cubicBezTo>
                      <a:pt x="1019" y="1229"/>
                      <a:pt x="1007" y="1219"/>
                      <a:pt x="993" y="1214"/>
                    </a:cubicBezTo>
                    <a:cubicBezTo>
                      <a:pt x="1079" y="1101"/>
                      <a:pt x="1079" y="1006"/>
                      <a:pt x="1079" y="973"/>
                    </a:cubicBezTo>
                    <a:cubicBezTo>
                      <a:pt x="1079" y="642"/>
                      <a:pt x="1079" y="642"/>
                      <a:pt x="1079" y="642"/>
                    </a:cubicBezTo>
                    <a:cubicBezTo>
                      <a:pt x="1079" y="595"/>
                      <a:pt x="1040" y="556"/>
                      <a:pt x="993" y="556"/>
                    </a:cubicBezTo>
                    <a:cubicBezTo>
                      <a:pt x="957" y="556"/>
                      <a:pt x="928" y="585"/>
                      <a:pt x="928" y="620"/>
                    </a:cubicBezTo>
                    <a:cubicBezTo>
                      <a:pt x="928" y="686"/>
                      <a:pt x="928" y="686"/>
                      <a:pt x="928" y="686"/>
                    </a:cubicBezTo>
                    <a:cubicBezTo>
                      <a:pt x="928" y="698"/>
                      <a:pt x="918" y="708"/>
                      <a:pt x="906" y="708"/>
                    </a:cubicBezTo>
                    <a:cubicBezTo>
                      <a:pt x="894" y="708"/>
                      <a:pt x="885" y="698"/>
                      <a:pt x="885" y="686"/>
                    </a:cubicBezTo>
                    <a:cubicBezTo>
                      <a:pt x="885" y="620"/>
                      <a:pt x="885" y="620"/>
                      <a:pt x="885" y="620"/>
                    </a:cubicBezTo>
                    <a:cubicBezTo>
                      <a:pt x="885" y="577"/>
                      <a:pt x="885" y="577"/>
                      <a:pt x="885" y="577"/>
                    </a:cubicBezTo>
                    <a:cubicBezTo>
                      <a:pt x="885" y="536"/>
                      <a:pt x="851" y="502"/>
                      <a:pt x="809" y="502"/>
                    </a:cubicBezTo>
                    <a:cubicBezTo>
                      <a:pt x="768" y="502"/>
                      <a:pt x="734" y="536"/>
                      <a:pt x="734" y="577"/>
                    </a:cubicBezTo>
                    <a:cubicBezTo>
                      <a:pt x="734" y="660"/>
                      <a:pt x="734" y="660"/>
                      <a:pt x="734" y="660"/>
                    </a:cubicBezTo>
                    <a:cubicBezTo>
                      <a:pt x="734" y="672"/>
                      <a:pt x="724" y="682"/>
                      <a:pt x="712" y="682"/>
                    </a:cubicBezTo>
                    <a:cubicBezTo>
                      <a:pt x="700" y="682"/>
                      <a:pt x="690" y="672"/>
                      <a:pt x="690" y="660"/>
                    </a:cubicBezTo>
                    <a:cubicBezTo>
                      <a:pt x="690" y="577"/>
                      <a:pt x="690" y="577"/>
                      <a:pt x="690" y="577"/>
                    </a:cubicBezTo>
                    <a:cubicBezTo>
                      <a:pt x="690" y="520"/>
                      <a:pt x="690" y="520"/>
                      <a:pt x="690" y="520"/>
                    </a:cubicBezTo>
                    <a:cubicBezTo>
                      <a:pt x="690" y="478"/>
                      <a:pt x="656" y="444"/>
                      <a:pt x="615" y="444"/>
                    </a:cubicBezTo>
                    <a:cubicBezTo>
                      <a:pt x="573" y="444"/>
                      <a:pt x="539" y="478"/>
                      <a:pt x="539" y="520"/>
                    </a:cubicBezTo>
                    <a:cubicBezTo>
                      <a:pt x="539" y="620"/>
                      <a:pt x="539" y="620"/>
                      <a:pt x="539" y="620"/>
                    </a:cubicBezTo>
                    <a:cubicBezTo>
                      <a:pt x="539" y="642"/>
                      <a:pt x="539" y="642"/>
                      <a:pt x="539" y="642"/>
                    </a:cubicBezTo>
                    <a:cubicBezTo>
                      <a:pt x="539" y="655"/>
                      <a:pt x="530" y="664"/>
                      <a:pt x="518" y="664"/>
                    </a:cubicBezTo>
                    <a:cubicBezTo>
                      <a:pt x="505" y="664"/>
                      <a:pt x="496" y="655"/>
                      <a:pt x="496" y="642"/>
                    </a:cubicBezTo>
                    <a:cubicBezTo>
                      <a:pt x="496" y="620"/>
                      <a:pt x="496" y="620"/>
                      <a:pt x="496" y="620"/>
                    </a:cubicBezTo>
                    <a:cubicBezTo>
                      <a:pt x="496" y="520"/>
                      <a:pt x="496" y="520"/>
                      <a:pt x="496" y="520"/>
                    </a:cubicBezTo>
                    <a:cubicBezTo>
                      <a:pt x="496" y="331"/>
                      <a:pt x="496" y="331"/>
                      <a:pt x="496" y="331"/>
                    </a:cubicBezTo>
                    <a:cubicBezTo>
                      <a:pt x="496" y="244"/>
                      <a:pt x="496" y="244"/>
                      <a:pt x="496" y="244"/>
                    </a:cubicBezTo>
                    <a:cubicBezTo>
                      <a:pt x="496" y="119"/>
                      <a:pt x="496" y="119"/>
                      <a:pt x="496" y="119"/>
                    </a:cubicBezTo>
                    <a:cubicBezTo>
                      <a:pt x="496" y="78"/>
                      <a:pt x="462" y="44"/>
                      <a:pt x="420" y="44"/>
                    </a:cubicBezTo>
                    <a:cubicBezTo>
                      <a:pt x="379" y="44"/>
                      <a:pt x="345" y="78"/>
                      <a:pt x="345" y="119"/>
                    </a:cubicBezTo>
                    <a:cubicBezTo>
                      <a:pt x="345" y="244"/>
                      <a:pt x="345" y="244"/>
                      <a:pt x="345" y="244"/>
                    </a:cubicBezTo>
                    <a:cubicBezTo>
                      <a:pt x="345" y="332"/>
                      <a:pt x="345" y="332"/>
                      <a:pt x="345" y="332"/>
                    </a:cubicBezTo>
                    <a:cubicBezTo>
                      <a:pt x="345" y="837"/>
                      <a:pt x="345" y="837"/>
                      <a:pt x="345" y="837"/>
                    </a:cubicBezTo>
                    <a:cubicBezTo>
                      <a:pt x="345" y="847"/>
                      <a:pt x="339" y="855"/>
                      <a:pt x="330" y="858"/>
                    </a:cubicBezTo>
                    <a:cubicBezTo>
                      <a:pt x="321" y="861"/>
                      <a:pt x="311" y="857"/>
                      <a:pt x="305" y="850"/>
                    </a:cubicBezTo>
                    <a:cubicBezTo>
                      <a:pt x="193" y="690"/>
                      <a:pt x="193" y="690"/>
                      <a:pt x="193" y="690"/>
                    </a:cubicBezTo>
                    <a:cubicBezTo>
                      <a:pt x="171" y="658"/>
                      <a:pt x="127" y="649"/>
                      <a:pt x="94" y="670"/>
                    </a:cubicBezTo>
                    <a:cubicBezTo>
                      <a:pt x="61" y="690"/>
                      <a:pt x="49" y="733"/>
                      <a:pt x="68" y="767"/>
                    </a:cubicBezTo>
                    <a:cubicBezTo>
                      <a:pt x="310" y="1215"/>
                      <a:pt x="310" y="1215"/>
                      <a:pt x="310" y="1215"/>
                    </a:cubicBezTo>
                    <a:cubicBezTo>
                      <a:pt x="295" y="1220"/>
                      <a:pt x="283" y="1231"/>
                      <a:pt x="276" y="1244"/>
                    </a:cubicBezTo>
                    <a:cubicBezTo>
                      <a:pt x="29" y="788"/>
                      <a:pt x="29" y="788"/>
                      <a:pt x="29" y="788"/>
                    </a:cubicBezTo>
                    <a:cubicBezTo>
                      <a:pt x="0" y="733"/>
                      <a:pt x="18" y="665"/>
                      <a:pt x="72" y="632"/>
                    </a:cubicBezTo>
                    <a:cubicBezTo>
                      <a:pt x="124" y="600"/>
                      <a:pt x="193" y="614"/>
                      <a:pt x="229" y="665"/>
                    </a:cubicBezTo>
                    <a:cubicBezTo>
                      <a:pt x="301" y="768"/>
                      <a:pt x="301" y="768"/>
                      <a:pt x="301" y="768"/>
                    </a:cubicBezTo>
                    <a:cubicBezTo>
                      <a:pt x="301" y="307"/>
                      <a:pt x="301" y="307"/>
                      <a:pt x="301" y="307"/>
                    </a:cubicBezTo>
                    <a:cubicBezTo>
                      <a:pt x="301" y="224"/>
                      <a:pt x="301" y="224"/>
                      <a:pt x="301" y="224"/>
                    </a:cubicBezTo>
                    <a:cubicBezTo>
                      <a:pt x="301" y="119"/>
                      <a:pt x="301" y="119"/>
                      <a:pt x="301" y="119"/>
                    </a:cubicBezTo>
                    <a:cubicBezTo>
                      <a:pt x="301" y="54"/>
                      <a:pt x="355" y="0"/>
                      <a:pt x="420" y="0"/>
                    </a:cubicBezTo>
                    <a:cubicBezTo>
                      <a:pt x="486" y="0"/>
                      <a:pt x="539" y="54"/>
                      <a:pt x="539" y="119"/>
                    </a:cubicBezTo>
                    <a:cubicBezTo>
                      <a:pt x="539" y="223"/>
                      <a:pt x="539" y="223"/>
                      <a:pt x="539" y="223"/>
                    </a:cubicBezTo>
                    <a:cubicBezTo>
                      <a:pt x="539" y="306"/>
                      <a:pt x="539" y="306"/>
                      <a:pt x="539" y="306"/>
                    </a:cubicBezTo>
                    <a:cubicBezTo>
                      <a:pt x="539" y="428"/>
                      <a:pt x="539" y="428"/>
                      <a:pt x="539" y="428"/>
                    </a:cubicBezTo>
                    <a:cubicBezTo>
                      <a:pt x="560" y="411"/>
                      <a:pt x="586" y="401"/>
                      <a:pt x="615" y="401"/>
                    </a:cubicBezTo>
                    <a:cubicBezTo>
                      <a:pt x="670" y="401"/>
                      <a:pt x="716" y="438"/>
                      <a:pt x="730" y="489"/>
                    </a:cubicBezTo>
                    <a:cubicBezTo>
                      <a:pt x="751" y="470"/>
                      <a:pt x="779" y="458"/>
                      <a:pt x="809" y="458"/>
                    </a:cubicBezTo>
                    <a:cubicBezTo>
                      <a:pt x="861" y="458"/>
                      <a:pt x="906" y="492"/>
                      <a:pt x="922" y="539"/>
                    </a:cubicBezTo>
                    <a:cubicBezTo>
                      <a:pt x="941" y="522"/>
                      <a:pt x="966" y="512"/>
                      <a:pt x="993" y="512"/>
                    </a:cubicBezTo>
                    <a:cubicBezTo>
                      <a:pt x="1064" y="512"/>
                      <a:pt x="1123" y="571"/>
                      <a:pt x="1123" y="642"/>
                    </a:cubicBezTo>
                    <a:close/>
                    <a:moveTo>
                      <a:pt x="439" y="228"/>
                    </a:moveTo>
                    <a:cubicBezTo>
                      <a:pt x="438" y="227"/>
                      <a:pt x="436" y="227"/>
                      <a:pt x="435" y="226"/>
                    </a:cubicBezTo>
                    <a:cubicBezTo>
                      <a:pt x="434" y="225"/>
                      <a:pt x="433" y="224"/>
                      <a:pt x="432" y="223"/>
                    </a:cubicBezTo>
                    <a:cubicBezTo>
                      <a:pt x="429" y="220"/>
                      <a:pt x="424" y="219"/>
                      <a:pt x="420" y="220"/>
                    </a:cubicBezTo>
                    <a:cubicBezTo>
                      <a:pt x="417" y="220"/>
                      <a:pt x="415" y="221"/>
                      <a:pt x="413" y="222"/>
                    </a:cubicBezTo>
                    <a:cubicBezTo>
                      <a:pt x="408" y="226"/>
                      <a:pt x="399" y="233"/>
                      <a:pt x="399" y="233"/>
                    </a:cubicBezTo>
                    <a:cubicBezTo>
                      <a:pt x="399" y="233"/>
                      <a:pt x="396" y="234"/>
                      <a:pt x="396" y="237"/>
                    </a:cubicBezTo>
                    <a:cubicBezTo>
                      <a:pt x="396" y="238"/>
                      <a:pt x="396" y="239"/>
                      <a:pt x="397" y="241"/>
                    </a:cubicBezTo>
                    <a:cubicBezTo>
                      <a:pt x="398" y="242"/>
                      <a:pt x="399" y="243"/>
                      <a:pt x="400" y="243"/>
                    </a:cubicBezTo>
                    <a:cubicBezTo>
                      <a:pt x="402" y="243"/>
                      <a:pt x="404" y="241"/>
                      <a:pt x="405" y="240"/>
                    </a:cubicBezTo>
                    <a:cubicBezTo>
                      <a:pt x="419" y="232"/>
                      <a:pt x="419" y="232"/>
                      <a:pt x="419" y="232"/>
                    </a:cubicBezTo>
                    <a:cubicBezTo>
                      <a:pt x="421" y="231"/>
                      <a:pt x="423" y="231"/>
                      <a:pt x="425" y="231"/>
                    </a:cubicBezTo>
                    <a:cubicBezTo>
                      <a:pt x="426" y="232"/>
                      <a:pt x="426" y="232"/>
                      <a:pt x="426" y="232"/>
                    </a:cubicBezTo>
                    <a:cubicBezTo>
                      <a:pt x="428" y="233"/>
                      <a:pt x="430" y="235"/>
                      <a:pt x="432" y="236"/>
                    </a:cubicBezTo>
                    <a:cubicBezTo>
                      <a:pt x="433" y="239"/>
                      <a:pt x="437" y="239"/>
                      <a:pt x="438" y="237"/>
                    </a:cubicBezTo>
                    <a:cubicBezTo>
                      <a:pt x="439" y="236"/>
                      <a:pt x="440" y="235"/>
                      <a:pt x="440" y="234"/>
                    </a:cubicBezTo>
                    <a:cubicBezTo>
                      <a:pt x="440" y="233"/>
                      <a:pt x="440" y="232"/>
                      <a:pt x="439" y="230"/>
                    </a:cubicBezTo>
                    <a:cubicBezTo>
                      <a:pt x="439" y="228"/>
                      <a:pt x="439" y="228"/>
                      <a:pt x="439" y="228"/>
                    </a:cubicBezTo>
                    <a:close/>
                    <a:moveTo>
                      <a:pt x="449" y="218"/>
                    </a:moveTo>
                    <a:cubicBezTo>
                      <a:pt x="448" y="217"/>
                      <a:pt x="447" y="217"/>
                      <a:pt x="446" y="216"/>
                    </a:cubicBezTo>
                    <a:cubicBezTo>
                      <a:pt x="444" y="213"/>
                      <a:pt x="442" y="211"/>
                      <a:pt x="438" y="210"/>
                    </a:cubicBezTo>
                    <a:cubicBezTo>
                      <a:pt x="433" y="206"/>
                      <a:pt x="428" y="204"/>
                      <a:pt x="422" y="205"/>
                    </a:cubicBezTo>
                    <a:cubicBezTo>
                      <a:pt x="418" y="205"/>
                      <a:pt x="415" y="207"/>
                      <a:pt x="412" y="208"/>
                    </a:cubicBezTo>
                    <a:cubicBezTo>
                      <a:pt x="412" y="209"/>
                      <a:pt x="411" y="209"/>
                      <a:pt x="411" y="210"/>
                    </a:cubicBezTo>
                    <a:cubicBezTo>
                      <a:pt x="404" y="213"/>
                      <a:pt x="396" y="218"/>
                      <a:pt x="390" y="223"/>
                    </a:cubicBezTo>
                    <a:cubicBezTo>
                      <a:pt x="388" y="224"/>
                      <a:pt x="387" y="225"/>
                      <a:pt x="387" y="227"/>
                    </a:cubicBezTo>
                    <a:cubicBezTo>
                      <a:pt x="387" y="228"/>
                      <a:pt x="387" y="230"/>
                      <a:pt x="388" y="231"/>
                    </a:cubicBezTo>
                    <a:cubicBezTo>
                      <a:pt x="390" y="232"/>
                      <a:pt x="391" y="232"/>
                      <a:pt x="392" y="232"/>
                    </a:cubicBezTo>
                    <a:cubicBezTo>
                      <a:pt x="395" y="232"/>
                      <a:pt x="395" y="232"/>
                      <a:pt x="395" y="232"/>
                    </a:cubicBezTo>
                    <a:cubicBezTo>
                      <a:pt x="395" y="231"/>
                      <a:pt x="395" y="231"/>
                      <a:pt x="395" y="231"/>
                    </a:cubicBezTo>
                    <a:cubicBezTo>
                      <a:pt x="402" y="225"/>
                      <a:pt x="409" y="221"/>
                      <a:pt x="416" y="217"/>
                    </a:cubicBezTo>
                    <a:cubicBezTo>
                      <a:pt x="417" y="217"/>
                      <a:pt x="417" y="217"/>
                      <a:pt x="417" y="217"/>
                    </a:cubicBezTo>
                    <a:cubicBezTo>
                      <a:pt x="418" y="216"/>
                      <a:pt x="418" y="216"/>
                      <a:pt x="418" y="216"/>
                    </a:cubicBezTo>
                    <a:cubicBezTo>
                      <a:pt x="420" y="215"/>
                      <a:pt x="421" y="214"/>
                      <a:pt x="423" y="214"/>
                    </a:cubicBezTo>
                    <a:cubicBezTo>
                      <a:pt x="424" y="214"/>
                      <a:pt x="424" y="214"/>
                      <a:pt x="424" y="214"/>
                    </a:cubicBezTo>
                    <a:cubicBezTo>
                      <a:pt x="426" y="213"/>
                      <a:pt x="431" y="215"/>
                      <a:pt x="433" y="216"/>
                    </a:cubicBezTo>
                    <a:cubicBezTo>
                      <a:pt x="436" y="219"/>
                      <a:pt x="439" y="222"/>
                      <a:pt x="442" y="225"/>
                    </a:cubicBezTo>
                    <a:cubicBezTo>
                      <a:pt x="443" y="226"/>
                      <a:pt x="445" y="227"/>
                      <a:pt x="445" y="227"/>
                    </a:cubicBezTo>
                    <a:cubicBezTo>
                      <a:pt x="446" y="227"/>
                      <a:pt x="448" y="226"/>
                      <a:pt x="449" y="225"/>
                    </a:cubicBezTo>
                    <a:cubicBezTo>
                      <a:pt x="450" y="224"/>
                      <a:pt x="451" y="222"/>
                      <a:pt x="450" y="221"/>
                    </a:cubicBezTo>
                    <a:cubicBezTo>
                      <a:pt x="450" y="220"/>
                      <a:pt x="450" y="219"/>
                      <a:pt x="449" y="218"/>
                    </a:cubicBezTo>
                    <a:close/>
                    <a:moveTo>
                      <a:pt x="462" y="203"/>
                    </a:moveTo>
                    <a:cubicBezTo>
                      <a:pt x="458" y="198"/>
                      <a:pt x="453" y="192"/>
                      <a:pt x="446" y="188"/>
                    </a:cubicBezTo>
                    <a:cubicBezTo>
                      <a:pt x="439" y="184"/>
                      <a:pt x="429" y="182"/>
                      <a:pt x="423" y="183"/>
                    </a:cubicBezTo>
                    <a:cubicBezTo>
                      <a:pt x="417" y="183"/>
                      <a:pt x="413" y="185"/>
                      <a:pt x="409" y="187"/>
                    </a:cubicBezTo>
                    <a:cubicBezTo>
                      <a:pt x="408" y="188"/>
                      <a:pt x="408" y="188"/>
                      <a:pt x="408" y="188"/>
                    </a:cubicBezTo>
                    <a:cubicBezTo>
                      <a:pt x="407" y="188"/>
                      <a:pt x="407" y="188"/>
                      <a:pt x="407" y="188"/>
                    </a:cubicBezTo>
                    <a:cubicBezTo>
                      <a:pt x="396" y="194"/>
                      <a:pt x="386" y="201"/>
                      <a:pt x="374" y="211"/>
                    </a:cubicBezTo>
                    <a:cubicBezTo>
                      <a:pt x="373" y="212"/>
                      <a:pt x="372" y="214"/>
                      <a:pt x="372" y="216"/>
                    </a:cubicBezTo>
                    <a:cubicBezTo>
                      <a:pt x="372" y="216"/>
                      <a:pt x="373" y="217"/>
                      <a:pt x="373" y="218"/>
                    </a:cubicBezTo>
                    <a:cubicBezTo>
                      <a:pt x="374" y="219"/>
                      <a:pt x="375" y="219"/>
                      <a:pt x="377" y="219"/>
                    </a:cubicBezTo>
                    <a:cubicBezTo>
                      <a:pt x="379" y="219"/>
                      <a:pt x="379" y="219"/>
                      <a:pt x="379" y="219"/>
                    </a:cubicBezTo>
                    <a:cubicBezTo>
                      <a:pt x="380" y="219"/>
                      <a:pt x="380" y="219"/>
                      <a:pt x="380" y="219"/>
                    </a:cubicBezTo>
                    <a:cubicBezTo>
                      <a:pt x="390" y="210"/>
                      <a:pt x="411" y="196"/>
                      <a:pt x="412" y="196"/>
                    </a:cubicBezTo>
                    <a:cubicBezTo>
                      <a:pt x="413" y="195"/>
                      <a:pt x="413" y="195"/>
                      <a:pt x="413" y="195"/>
                    </a:cubicBezTo>
                    <a:cubicBezTo>
                      <a:pt x="415" y="194"/>
                      <a:pt x="420" y="192"/>
                      <a:pt x="423" y="191"/>
                    </a:cubicBezTo>
                    <a:cubicBezTo>
                      <a:pt x="429" y="191"/>
                      <a:pt x="437" y="193"/>
                      <a:pt x="441" y="196"/>
                    </a:cubicBezTo>
                    <a:cubicBezTo>
                      <a:pt x="445" y="199"/>
                      <a:pt x="448" y="202"/>
                      <a:pt x="452" y="206"/>
                    </a:cubicBezTo>
                    <a:cubicBezTo>
                      <a:pt x="453" y="207"/>
                      <a:pt x="455" y="209"/>
                      <a:pt x="456" y="210"/>
                    </a:cubicBezTo>
                    <a:cubicBezTo>
                      <a:pt x="457" y="211"/>
                      <a:pt x="458" y="211"/>
                      <a:pt x="458" y="211"/>
                    </a:cubicBezTo>
                    <a:cubicBezTo>
                      <a:pt x="459" y="211"/>
                      <a:pt x="460" y="211"/>
                      <a:pt x="461" y="210"/>
                    </a:cubicBezTo>
                    <a:cubicBezTo>
                      <a:pt x="464" y="207"/>
                      <a:pt x="464" y="204"/>
                      <a:pt x="462" y="203"/>
                    </a:cubicBezTo>
                    <a:close/>
                    <a:moveTo>
                      <a:pt x="370" y="186"/>
                    </a:moveTo>
                    <a:cubicBezTo>
                      <a:pt x="399" y="173"/>
                      <a:pt x="419" y="152"/>
                      <a:pt x="436" y="135"/>
                    </a:cubicBezTo>
                    <a:cubicBezTo>
                      <a:pt x="438" y="134"/>
                      <a:pt x="438" y="131"/>
                      <a:pt x="436" y="129"/>
                    </a:cubicBezTo>
                    <a:cubicBezTo>
                      <a:pt x="436" y="128"/>
                      <a:pt x="436" y="128"/>
                      <a:pt x="436" y="128"/>
                    </a:cubicBezTo>
                    <a:cubicBezTo>
                      <a:pt x="435" y="127"/>
                      <a:pt x="434" y="127"/>
                      <a:pt x="432" y="127"/>
                    </a:cubicBezTo>
                    <a:cubicBezTo>
                      <a:pt x="431" y="128"/>
                      <a:pt x="430" y="128"/>
                      <a:pt x="429" y="129"/>
                    </a:cubicBezTo>
                    <a:cubicBezTo>
                      <a:pt x="425" y="133"/>
                      <a:pt x="425" y="133"/>
                      <a:pt x="425" y="133"/>
                    </a:cubicBezTo>
                    <a:cubicBezTo>
                      <a:pt x="409" y="149"/>
                      <a:pt x="391" y="167"/>
                      <a:pt x="366" y="177"/>
                    </a:cubicBezTo>
                    <a:cubicBezTo>
                      <a:pt x="365" y="178"/>
                      <a:pt x="365" y="178"/>
                      <a:pt x="365" y="178"/>
                    </a:cubicBezTo>
                    <a:cubicBezTo>
                      <a:pt x="364" y="179"/>
                      <a:pt x="363" y="180"/>
                      <a:pt x="363" y="182"/>
                    </a:cubicBezTo>
                    <a:cubicBezTo>
                      <a:pt x="363" y="182"/>
                      <a:pt x="363" y="183"/>
                      <a:pt x="364" y="183"/>
                    </a:cubicBezTo>
                    <a:cubicBezTo>
                      <a:pt x="364" y="186"/>
                      <a:pt x="367" y="186"/>
                      <a:pt x="368" y="186"/>
                    </a:cubicBezTo>
                    <a:cubicBezTo>
                      <a:pt x="369" y="186"/>
                      <a:pt x="369" y="186"/>
                      <a:pt x="369" y="186"/>
                    </a:cubicBezTo>
                    <a:lnTo>
                      <a:pt x="370" y="186"/>
                    </a:lnTo>
                    <a:close/>
                    <a:moveTo>
                      <a:pt x="374" y="204"/>
                    </a:moveTo>
                    <a:cubicBezTo>
                      <a:pt x="375" y="204"/>
                      <a:pt x="376" y="204"/>
                      <a:pt x="376" y="203"/>
                    </a:cubicBezTo>
                    <a:cubicBezTo>
                      <a:pt x="417" y="177"/>
                      <a:pt x="417" y="177"/>
                      <a:pt x="417" y="177"/>
                    </a:cubicBezTo>
                    <a:cubicBezTo>
                      <a:pt x="426" y="171"/>
                      <a:pt x="435" y="165"/>
                      <a:pt x="443" y="157"/>
                    </a:cubicBezTo>
                    <a:cubicBezTo>
                      <a:pt x="451" y="147"/>
                      <a:pt x="456" y="135"/>
                      <a:pt x="455" y="124"/>
                    </a:cubicBezTo>
                    <a:cubicBezTo>
                      <a:pt x="454" y="120"/>
                      <a:pt x="453" y="116"/>
                      <a:pt x="451" y="114"/>
                    </a:cubicBezTo>
                    <a:cubicBezTo>
                      <a:pt x="446" y="108"/>
                      <a:pt x="438" y="107"/>
                      <a:pt x="435" y="107"/>
                    </a:cubicBezTo>
                    <a:cubicBezTo>
                      <a:pt x="419" y="108"/>
                      <a:pt x="405" y="122"/>
                      <a:pt x="396" y="132"/>
                    </a:cubicBezTo>
                    <a:cubicBezTo>
                      <a:pt x="395" y="133"/>
                      <a:pt x="395" y="133"/>
                      <a:pt x="395" y="133"/>
                    </a:cubicBezTo>
                    <a:cubicBezTo>
                      <a:pt x="387" y="142"/>
                      <a:pt x="377" y="152"/>
                      <a:pt x="365" y="155"/>
                    </a:cubicBezTo>
                    <a:cubicBezTo>
                      <a:pt x="363" y="155"/>
                      <a:pt x="361" y="157"/>
                      <a:pt x="361" y="160"/>
                    </a:cubicBezTo>
                    <a:cubicBezTo>
                      <a:pt x="361" y="161"/>
                      <a:pt x="361" y="161"/>
                      <a:pt x="361" y="161"/>
                    </a:cubicBezTo>
                    <a:cubicBezTo>
                      <a:pt x="362" y="163"/>
                      <a:pt x="365" y="165"/>
                      <a:pt x="367" y="165"/>
                    </a:cubicBezTo>
                    <a:cubicBezTo>
                      <a:pt x="382" y="162"/>
                      <a:pt x="393" y="151"/>
                      <a:pt x="403" y="139"/>
                    </a:cubicBezTo>
                    <a:cubicBezTo>
                      <a:pt x="404" y="139"/>
                      <a:pt x="404" y="139"/>
                      <a:pt x="404" y="139"/>
                    </a:cubicBezTo>
                    <a:cubicBezTo>
                      <a:pt x="411" y="130"/>
                      <a:pt x="422" y="118"/>
                      <a:pt x="435" y="118"/>
                    </a:cubicBezTo>
                    <a:cubicBezTo>
                      <a:pt x="437" y="118"/>
                      <a:pt x="442" y="118"/>
                      <a:pt x="444" y="120"/>
                    </a:cubicBezTo>
                    <a:cubicBezTo>
                      <a:pt x="444" y="122"/>
                      <a:pt x="445" y="123"/>
                      <a:pt x="445" y="125"/>
                    </a:cubicBezTo>
                    <a:cubicBezTo>
                      <a:pt x="446" y="133"/>
                      <a:pt x="442" y="142"/>
                      <a:pt x="435" y="150"/>
                    </a:cubicBezTo>
                    <a:cubicBezTo>
                      <a:pt x="430" y="157"/>
                      <a:pt x="422" y="162"/>
                      <a:pt x="414" y="166"/>
                    </a:cubicBezTo>
                    <a:cubicBezTo>
                      <a:pt x="371" y="194"/>
                      <a:pt x="371" y="194"/>
                      <a:pt x="371" y="194"/>
                    </a:cubicBezTo>
                    <a:cubicBezTo>
                      <a:pt x="371" y="195"/>
                      <a:pt x="371" y="195"/>
                      <a:pt x="371" y="195"/>
                    </a:cubicBezTo>
                    <a:cubicBezTo>
                      <a:pt x="369" y="196"/>
                      <a:pt x="368" y="199"/>
                      <a:pt x="370" y="201"/>
                    </a:cubicBezTo>
                    <a:cubicBezTo>
                      <a:pt x="370" y="202"/>
                      <a:pt x="370" y="202"/>
                      <a:pt x="370" y="202"/>
                    </a:cubicBezTo>
                    <a:cubicBezTo>
                      <a:pt x="371" y="203"/>
                      <a:pt x="372" y="204"/>
                      <a:pt x="374" y="204"/>
                    </a:cubicBezTo>
                    <a:close/>
                    <a:moveTo>
                      <a:pt x="366" y="146"/>
                    </a:moveTo>
                    <a:cubicBezTo>
                      <a:pt x="368" y="146"/>
                      <a:pt x="368" y="146"/>
                      <a:pt x="368" y="146"/>
                    </a:cubicBezTo>
                    <a:cubicBezTo>
                      <a:pt x="374" y="143"/>
                      <a:pt x="379" y="140"/>
                      <a:pt x="383" y="137"/>
                    </a:cubicBezTo>
                    <a:cubicBezTo>
                      <a:pt x="384" y="136"/>
                      <a:pt x="384" y="136"/>
                      <a:pt x="384" y="136"/>
                    </a:cubicBezTo>
                    <a:cubicBezTo>
                      <a:pt x="385" y="135"/>
                      <a:pt x="386" y="134"/>
                      <a:pt x="387" y="132"/>
                    </a:cubicBezTo>
                    <a:cubicBezTo>
                      <a:pt x="388" y="131"/>
                      <a:pt x="389" y="130"/>
                      <a:pt x="390" y="129"/>
                    </a:cubicBezTo>
                    <a:cubicBezTo>
                      <a:pt x="392" y="127"/>
                      <a:pt x="394" y="125"/>
                      <a:pt x="396" y="123"/>
                    </a:cubicBezTo>
                    <a:cubicBezTo>
                      <a:pt x="398" y="120"/>
                      <a:pt x="400" y="118"/>
                      <a:pt x="402" y="116"/>
                    </a:cubicBezTo>
                    <a:cubicBezTo>
                      <a:pt x="410" y="109"/>
                      <a:pt x="425" y="102"/>
                      <a:pt x="438" y="104"/>
                    </a:cubicBezTo>
                    <a:cubicBezTo>
                      <a:pt x="439" y="104"/>
                      <a:pt x="441" y="103"/>
                      <a:pt x="442" y="100"/>
                    </a:cubicBezTo>
                    <a:cubicBezTo>
                      <a:pt x="442" y="99"/>
                      <a:pt x="442" y="99"/>
                      <a:pt x="442" y="99"/>
                    </a:cubicBezTo>
                    <a:cubicBezTo>
                      <a:pt x="442" y="96"/>
                      <a:pt x="441" y="94"/>
                      <a:pt x="438" y="94"/>
                    </a:cubicBezTo>
                    <a:cubicBezTo>
                      <a:pt x="420" y="91"/>
                      <a:pt x="403" y="102"/>
                      <a:pt x="396" y="109"/>
                    </a:cubicBezTo>
                    <a:cubicBezTo>
                      <a:pt x="391" y="113"/>
                      <a:pt x="386" y="118"/>
                      <a:pt x="383" y="122"/>
                    </a:cubicBezTo>
                    <a:cubicBezTo>
                      <a:pt x="380" y="125"/>
                      <a:pt x="378" y="126"/>
                      <a:pt x="377" y="129"/>
                    </a:cubicBezTo>
                    <a:cubicBezTo>
                      <a:pt x="373" y="132"/>
                      <a:pt x="370" y="135"/>
                      <a:pt x="364" y="138"/>
                    </a:cubicBezTo>
                    <a:cubicBezTo>
                      <a:pt x="363" y="138"/>
                      <a:pt x="362" y="139"/>
                      <a:pt x="362" y="140"/>
                    </a:cubicBezTo>
                    <a:cubicBezTo>
                      <a:pt x="361" y="141"/>
                      <a:pt x="361" y="142"/>
                      <a:pt x="362" y="143"/>
                    </a:cubicBezTo>
                    <a:cubicBezTo>
                      <a:pt x="362" y="146"/>
                      <a:pt x="365" y="146"/>
                      <a:pt x="366" y="146"/>
                    </a:cubicBezTo>
                    <a:close/>
                    <a:moveTo>
                      <a:pt x="435" y="76"/>
                    </a:moveTo>
                    <a:cubicBezTo>
                      <a:pt x="427" y="74"/>
                      <a:pt x="418" y="75"/>
                      <a:pt x="407" y="78"/>
                    </a:cubicBezTo>
                    <a:cubicBezTo>
                      <a:pt x="387" y="86"/>
                      <a:pt x="370" y="102"/>
                      <a:pt x="360" y="120"/>
                    </a:cubicBezTo>
                    <a:cubicBezTo>
                      <a:pt x="359" y="123"/>
                      <a:pt x="360" y="125"/>
                      <a:pt x="361" y="127"/>
                    </a:cubicBezTo>
                    <a:cubicBezTo>
                      <a:pt x="362" y="127"/>
                      <a:pt x="362" y="127"/>
                      <a:pt x="362" y="127"/>
                    </a:cubicBezTo>
                    <a:cubicBezTo>
                      <a:pt x="364" y="129"/>
                      <a:pt x="367" y="128"/>
                      <a:pt x="368" y="126"/>
                    </a:cubicBezTo>
                    <a:cubicBezTo>
                      <a:pt x="369" y="126"/>
                      <a:pt x="369" y="126"/>
                      <a:pt x="369" y="126"/>
                    </a:cubicBezTo>
                    <a:cubicBezTo>
                      <a:pt x="377" y="109"/>
                      <a:pt x="393" y="95"/>
                      <a:pt x="411" y="88"/>
                    </a:cubicBezTo>
                    <a:cubicBezTo>
                      <a:pt x="420" y="85"/>
                      <a:pt x="427" y="84"/>
                      <a:pt x="434" y="86"/>
                    </a:cubicBezTo>
                    <a:cubicBezTo>
                      <a:pt x="442" y="87"/>
                      <a:pt x="452" y="95"/>
                      <a:pt x="458" y="105"/>
                    </a:cubicBezTo>
                    <a:cubicBezTo>
                      <a:pt x="463" y="114"/>
                      <a:pt x="468" y="132"/>
                      <a:pt x="470" y="150"/>
                    </a:cubicBezTo>
                    <a:cubicBezTo>
                      <a:pt x="470" y="153"/>
                      <a:pt x="472" y="155"/>
                      <a:pt x="474" y="155"/>
                    </a:cubicBezTo>
                    <a:cubicBezTo>
                      <a:pt x="475" y="155"/>
                      <a:pt x="475" y="155"/>
                      <a:pt x="475" y="155"/>
                    </a:cubicBezTo>
                    <a:cubicBezTo>
                      <a:pt x="477" y="155"/>
                      <a:pt x="480" y="152"/>
                      <a:pt x="480" y="149"/>
                    </a:cubicBezTo>
                    <a:cubicBezTo>
                      <a:pt x="478" y="130"/>
                      <a:pt x="473" y="110"/>
                      <a:pt x="467" y="100"/>
                    </a:cubicBezTo>
                    <a:cubicBezTo>
                      <a:pt x="459" y="87"/>
                      <a:pt x="448" y="78"/>
                      <a:pt x="435" y="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4" name="Google Shape;79;p14">
            <a:extLst>
              <a:ext uri="{FF2B5EF4-FFF2-40B4-BE49-F238E27FC236}">
                <a16:creationId xmlns:a16="http://schemas.microsoft.com/office/drawing/2014/main" id="{C4264836-BA6C-0CD5-58DB-1FAAC7AAE81B}"/>
              </a:ext>
            </a:extLst>
          </p:cNvPr>
          <p:cNvSpPr txBox="1"/>
          <p:nvPr/>
        </p:nvSpPr>
        <p:spPr>
          <a:xfrm>
            <a:off x="5385857" y="9586492"/>
            <a:ext cx="2122935" cy="39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1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www.positive.ai</a:t>
            </a:r>
            <a:endParaRPr lang="fr" sz="1200" b="1">
              <a:solidFill>
                <a:srgbClr val="1926BA"/>
              </a:solidFill>
              <a:latin typeface="Syne"/>
              <a:ea typeface="Syne"/>
              <a:cs typeface="Syne"/>
              <a:sym typeface="Syne"/>
            </a:endParaRPr>
          </a:p>
        </p:txBody>
      </p:sp>
      <p:pic>
        <p:nvPicPr>
          <p:cNvPr id="55" name="Picture 54">
            <a:hlinkClick r:id="rId14"/>
            <a:extLst>
              <a:ext uri="{FF2B5EF4-FFF2-40B4-BE49-F238E27FC236}">
                <a16:creationId xmlns:a16="http://schemas.microsoft.com/office/drawing/2014/main" id="{0AC5296A-EF46-5137-1102-5A7D02E2C57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376981" y="8472802"/>
            <a:ext cx="1809726" cy="1074900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09FC9383-D721-1362-E4AD-B1E226349C72}"/>
              </a:ext>
            </a:extLst>
          </p:cNvPr>
          <p:cNvGrpSpPr>
            <a:grpSpLocks noChangeAspect="1"/>
          </p:cNvGrpSpPr>
          <p:nvPr/>
        </p:nvGrpSpPr>
        <p:grpSpPr>
          <a:xfrm>
            <a:off x="819794" y="3096208"/>
            <a:ext cx="367224" cy="346059"/>
            <a:chOff x="8301033" y="3162506"/>
            <a:chExt cx="952485" cy="897586"/>
          </a:xfrm>
        </p:grpSpPr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D85F568F-3667-799B-8CB7-3BA0CE7DB261}"/>
                </a:ext>
              </a:extLst>
            </p:cNvPr>
            <p:cNvSpPr/>
            <p:nvPr/>
          </p:nvSpPr>
          <p:spPr>
            <a:xfrm>
              <a:off x="8301033" y="3431213"/>
              <a:ext cx="610966" cy="628879"/>
            </a:xfrm>
            <a:custGeom>
              <a:avLst/>
              <a:gdLst>
                <a:gd name="connsiteX0" fmla="*/ 507754 w 610966"/>
                <a:gd name="connsiteY0" fmla="*/ 0 h 628879"/>
                <a:gd name="connsiteX1" fmla="*/ 610967 w 610966"/>
                <a:gd name="connsiteY1" fmla="*/ 105471 h 628879"/>
                <a:gd name="connsiteX2" fmla="*/ 149442 w 610966"/>
                <a:gd name="connsiteY2" fmla="*/ 612833 h 628879"/>
                <a:gd name="connsiteX3" fmla="*/ 72004 w 610966"/>
                <a:gd name="connsiteY3" fmla="*/ 612833 h 628879"/>
                <a:gd name="connsiteX4" fmla="*/ 16131 w 610966"/>
                <a:gd name="connsiteY4" fmla="*/ 555836 h 628879"/>
                <a:gd name="connsiteX5" fmla="*/ 16131 w 610966"/>
                <a:gd name="connsiteY5" fmla="*/ 478892 h 628879"/>
                <a:gd name="connsiteX6" fmla="*/ 507754 w 610966"/>
                <a:gd name="connsiteY6" fmla="*/ 0 h 62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0966" h="628879">
                  <a:moveTo>
                    <a:pt x="507754" y="0"/>
                  </a:moveTo>
                  <a:lnTo>
                    <a:pt x="610967" y="105471"/>
                  </a:lnTo>
                  <a:lnTo>
                    <a:pt x="149442" y="612833"/>
                  </a:lnTo>
                  <a:cubicBezTo>
                    <a:pt x="129373" y="634229"/>
                    <a:pt x="93512" y="634229"/>
                    <a:pt x="72004" y="612833"/>
                  </a:cubicBezTo>
                  <a:lnTo>
                    <a:pt x="16131" y="555836"/>
                  </a:lnTo>
                  <a:cubicBezTo>
                    <a:pt x="-5377" y="535889"/>
                    <a:pt x="-5377" y="500259"/>
                    <a:pt x="16131" y="478892"/>
                  </a:cubicBezTo>
                  <a:lnTo>
                    <a:pt x="507754" y="0"/>
                  </a:lnTo>
                  <a:close/>
                </a:path>
              </a:pathLst>
            </a:custGeom>
            <a:solidFill>
              <a:srgbClr val="F2E50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A29566FC-BAF3-1318-9AA9-38624091DED5}"/>
                </a:ext>
              </a:extLst>
            </p:cNvPr>
            <p:cNvSpPr/>
            <p:nvPr/>
          </p:nvSpPr>
          <p:spPr>
            <a:xfrm>
              <a:off x="8633965" y="3162506"/>
              <a:ext cx="619553" cy="467176"/>
            </a:xfrm>
            <a:custGeom>
              <a:avLst/>
              <a:gdLst>
                <a:gd name="connsiteX0" fmla="*/ 607743 w 619553"/>
                <a:gd name="connsiteY0" fmla="*/ 377010 h 467176"/>
                <a:gd name="connsiteX1" fmla="*/ 530304 w 619553"/>
                <a:gd name="connsiteY1" fmla="*/ 455413 h 467176"/>
                <a:gd name="connsiteX2" fmla="*/ 472983 w 619553"/>
                <a:gd name="connsiteY2" fmla="*/ 455413 h 467176"/>
                <a:gd name="connsiteX3" fmla="*/ 455790 w 619553"/>
                <a:gd name="connsiteY3" fmla="*/ 436897 h 467176"/>
                <a:gd name="connsiteX4" fmla="*/ 444322 w 619553"/>
                <a:gd name="connsiteY4" fmla="*/ 394125 h 467176"/>
                <a:gd name="connsiteX5" fmla="*/ 428520 w 619553"/>
                <a:gd name="connsiteY5" fmla="*/ 337099 h 467176"/>
                <a:gd name="connsiteX6" fmla="*/ 332518 w 619553"/>
                <a:gd name="connsiteY6" fmla="*/ 318573 h 467176"/>
                <a:gd name="connsiteX7" fmla="*/ 302419 w 619553"/>
                <a:gd name="connsiteY7" fmla="*/ 348502 h 467176"/>
                <a:gd name="connsiteX8" fmla="*/ 196329 w 619553"/>
                <a:gd name="connsiteY8" fmla="*/ 244480 h 467176"/>
                <a:gd name="connsiteX9" fmla="*/ 213570 w 619553"/>
                <a:gd name="connsiteY9" fmla="*/ 227366 h 467176"/>
                <a:gd name="connsiteX10" fmla="*/ 226438 w 619553"/>
                <a:gd name="connsiteY10" fmla="*/ 213121 h 467176"/>
                <a:gd name="connsiteX11" fmla="*/ 225000 w 619553"/>
                <a:gd name="connsiteY11" fmla="*/ 143280 h 467176"/>
                <a:gd name="connsiteX12" fmla="*/ 1438 w 619553"/>
                <a:gd name="connsiteY12" fmla="*/ 53494 h 467176"/>
                <a:gd name="connsiteX13" fmla="*/ 0 w 619553"/>
                <a:gd name="connsiteY13" fmla="*/ 20695 h 467176"/>
                <a:gd name="connsiteX14" fmla="*/ 397069 w 619553"/>
                <a:gd name="connsiteY14" fmla="*/ 103369 h 467176"/>
                <a:gd name="connsiteX15" fmla="*/ 473012 w 619553"/>
                <a:gd name="connsiteY15" fmla="*/ 178911 h 467176"/>
                <a:gd name="connsiteX16" fmla="*/ 500224 w 619553"/>
                <a:gd name="connsiteY16" fmla="*/ 280111 h 467176"/>
                <a:gd name="connsiteX17" fmla="*/ 543239 w 619553"/>
                <a:gd name="connsiteY17" fmla="*/ 298636 h 467176"/>
                <a:gd name="connsiteX18" fmla="*/ 591960 w 619553"/>
                <a:gd name="connsiteY18" fmla="*/ 302908 h 467176"/>
                <a:gd name="connsiteX19" fmla="*/ 607762 w 619553"/>
                <a:gd name="connsiteY19" fmla="*/ 320022 h 467176"/>
                <a:gd name="connsiteX20" fmla="*/ 607743 w 619553"/>
                <a:gd name="connsiteY20" fmla="*/ 377010 h 46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9553" h="467176">
                  <a:moveTo>
                    <a:pt x="607743" y="377010"/>
                  </a:moveTo>
                  <a:lnTo>
                    <a:pt x="530304" y="455413"/>
                  </a:lnTo>
                  <a:cubicBezTo>
                    <a:pt x="514560" y="471097"/>
                    <a:pt x="490166" y="471097"/>
                    <a:pt x="472983" y="455413"/>
                  </a:cubicBezTo>
                  <a:lnTo>
                    <a:pt x="455790" y="436897"/>
                  </a:lnTo>
                  <a:cubicBezTo>
                    <a:pt x="442884" y="425484"/>
                    <a:pt x="437112" y="404098"/>
                    <a:pt x="444322" y="394125"/>
                  </a:cubicBezTo>
                  <a:cubicBezTo>
                    <a:pt x="457181" y="385582"/>
                    <a:pt x="452914" y="359924"/>
                    <a:pt x="428520" y="337099"/>
                  </a:cubicBezTo>
                  <a:cubicBezTo>
                    <a:pt x="394164" y="301468"/>
                    <a:pt x="349701" y="300057"/>
                    <a:pt x="332518" y="318573"/>
                  </a:cubicBezTo>
                  <a:cubicBezTo>
                    <a:pt x="325364" y="324284"/>
                    <a:pt x="302419" y="348502"/>
                    <a:pt x="302419" y="348502"/>
                  </a:cubicBezTo>
                  <a:lnTo>
                    <a:pt x="196329" y="244480"/>
                  </a:lnTo>
                  <a:lnTo>
                    <a:pt x="213570" y="227366"/>
                  </a:lnTo>
                  <a:cubicBezTo>
                    <a:pt x="213570" y="227366"/>
                    <a:pt x="217837" y="223094"/>
                    <a:pt x="226438" y="213121"/>
                  </a:cubicBezTo>
                  <a:cubicBezTo>
                    <a:pt x="259423" y="180332"/>
                    <a:pt x="225000" y="143280"/>
                    <a:pt x="225000" y="143280"/>
                  </a:cubicBezTo>
                  <a:cubicBezTo>
                    <a:pt x="131874" y="52063"/>
                    <a:pt x="1438" y="53494"/>
                    <a:pt x="1438" y="53494"/>
                  </a:cubicBezTo>
                  <a:lnTo>
                    <a:pt x="0" y="20695"/>
                  </a:lnTo>
                  <a:cubicBezTo>
                    <a:pt x="262309" y="-46304"/>
                    <a:pt x="361198" y="67738"/>
                    <a:pt x="397069" y="103369"/>
                  </a:cubicBezTo>
                  <a:cubicBezTo>
                    <a:pt x="429987" y="136139"/>
                    <a:pt x="464410" y="170340"/>
                    <a:pt x="473012" y="178911"/>
                  </a:cubicBezTo>
                  <a:cubicBezTo>
                    <a:pt x="491633" y="197427"/>
                    <a:pt x="473012" y="250144"/>
                    <a:pt x="500224" y="280111"/>
                  </a:cubicBezTo>
                  <a:cubicBezTo>
                    <a:pt x="513131" y="292925"/>
                    <a:pt x="530323" y="298636"/>
                    <a:pt x="543239" y="298636"/>
                  </a:cubicBezTo>
                  <a:cubicBezTo>
                    <a:pt x="557603" y="285822"/>
                    <a:pt x="580492" y="290093"/>
                    <a:pt x="591960" y="302908"/>
                  </a:cubicBezTo>
                  <a:lnTo>
                    <a:pt x="607762" y="320022"/>
                  </a:lnTo>
                  <a:cubicBezTo>
                    <a:pt x="623487" y="335707"/>
                    <a:pt x="623487" y="359924"/>
                    <a:pt x="607743" y="377010"/>
                  </a:cubicBezTo>
                  <a:close/>
                </a:path>
              </a:pathLst>
            </a:custGeom>
            <a:solidFill>
              <a:srgbClr val="F7CF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98" name="Freeform 97">
            <a:extLst>
              <a:ext uri="{FF2B5EF4-FFF2-40B4-BE49-F238E27FC236}">
                <a16:creationId xmlns:a16="http://schemas.microsoft.com/office/drawing/2014/main" id="{4251AE84-D2B6-C8E1-3E2A-7ACD9953A3D5}"/>
              </a:ext>
            </a:extLst>
          </p:cNvPr>
          <p:cNvSpPr>
            <a:spLocks noChangeAspect="1"/>
          </p:cNvSpPr>
          <p:nvPr/>
        </p:nvSpPr>
        <p:spPr>
          <a:xfrm>
            <a:off x="817181" y="2324677"/>
            <a:ext cx="334694" cy="247382"/>
          </a:xfrm>
          <a:custGeom>
            <a:avLst/>
            <a:gdLst>
              <a:gd name="connsiteX0" fmla="*/ 209550 w 228600"/>
              <a:gd name="connsiteY0" fmla="*/ 0 h 168965"/>
              <a:gd name="connsiteX1" fmla="*/ 19050 w 228600"/>
              <a:gd name="connsiteY1" fmla="*/ 0 h 168965"/>
              <a:gd name="connsiteX2" fmla="*/ 0 w 228600"/>
              <a:gd name="connsiteY2" fmla="*/ 18774 h 168965"/>
              <a:gd name="connsiteX3" fmla="*/ 0 w 228600"/>
              <a:gd name="connsiteY3" fmla="*/ 150191 h 168965"/>
              <a:gd name="connsiteX4" fmla="*/ 19050 w 228600"/>
              <a:gd name="connsiteY4" fmla="*/ 168965 h 168965"/>
              <a:gd name="connsiteX5" fmla="*/ 209550 w 228600"/>
              <a:gd name="connsiteY5" fmla="*/ 168965 h 168965"/>
              <a:gd name="connsiteX6" fmla="*/ 228600 w 228600"/>
              <a:gd name="connsiteY6" fmla="*/ 150191 h 168965"/>
              <a:gd name="connsiteX7" fmla="*/ 228600 w 228600"/>
              <a:gd name="connsiteY7" fmla="*/ 18774 h 168965"/>
              <a:gd name="connsiteX8" fmla="*/ 209550 w 228600"/>
              <a:gd name="connsiteY8" fmla="*/ 0 h 168965"/>
              <a:gd name="connsiteX9" fmla="*/ 95250 w 228600"/>
              <a:gd name="connsiteY9" fmla="*/ 122030 h 168965"/>
              <a:gd name="connsiteX10" fmla="*/ 95250 w 228600"/>
              <a:gd name="connsiteY10" fmla="*/ 46935 h 168965"/>
              <a:gd name="connsiteX11" fmla="*/ 152400 w 228600"/>
              <a:gd name="connsiteY11" fmla="*/ 84483 h 168965"/>
              <a:gd name="connsiteX12" fmla="*/ 95250 w 228600"/>
              <a:gd name="connsiteY12" fmla="*/ 122030 h 168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8600" h="168965">
                <a:moveTo>
                  <a:pt x="209550" y="0"/>
                </a:moveTo>
                <a:lnTo>
                  <a:pt x="19050" y="0"/>
                </a:lnTo>
                <a:cubicBezTo>
                  <a:pt x="8534" y="0"/>
                  <a:pt x="0" y="8411"/>
                  <a:pt x="0" y="18774"/>
                </a:cubicBezTo>
                <a:lnTo>
                  <a:pt x="0" y="150191"/>
                </a:lnTo>
                <a:cubicBezTo>
                  <a:pt x="0" y="160555"/>
                  <a:pt x="8534" y="168965"/>
                  <a:pt x="19050" y="168965"/>
                </a:cubicBezTo>
                <a:lnTo>
                  <a:pt x="209550" y="168965"/>
                </a:lnTo>
                <a:cubicBezTo>
                  <a:pt x="220066" y="168965"/>
                  <a:pt x="228600" y="160555"/>
                  <a:pt x="228600" y="150191"/>
                </a:cubicBezTo>
                <a:lnTo>
                  <a:pt x="228600" y="18774"/>
                </a:lnTo>
                <a:cubicBezTo>
                  <a:pt x="228600" y="8411"/>
                  <a:pt x="220066" y="0"/>
                  <a:pt x="209550" y="0"/>
                </a:cubicBezTo>
                <a:close/>
                <a:moveTo>
                  <a:pt x="95250" y="122030"/>
                </a:moveTo>
                <a:lnTo>
                  <a:pt x="95250" y="46935"/>
                </a:lnTo>
                <a:lnTo>
                  <a:pt x="152400" y="84483"/>
                </a:lnTo>
                <a:lnTo>
                  <a:pt x="95250" y="122030"/>
                </a:lnTo>
                <a:close/>
              </a:path>
            </a:pathLst>
          </a:custGeom>
          <a:solidFill>
            <a:srgbClr val="F2E50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pic>
        <p:nvPicPr>
          <p:cNvPr id="1026" name="Picture 2" descr="Profile photo of Philippe STREIFF">
            <a:extLst>
              <a:ext uri="{FF2B5EF4-FFF2-40B4-BE49-F238E27FC236}">
                <a16:creationId xmlns:a16="http://schemas.microsoft.com/office/drawing/2014/main" id="{1A764953-1802-65F9-0B31-0AF36B6927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393900" y="9641727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EFFF90E7-5481-A078-1EE5-CE56DE0F44DD}"/>
              </a:ext>
            </a:extLst>
          </p:cNvPr>
          <p:cNvSpPr txBox="1"/>
          <p:nvPr/>
        </p:nvSpPr>
        <p:spPr>
          <a:xfrm>
            <a:off x="-228338" y="9251585"/>
            <a:ext cx="3789334" cy="2771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i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{</a:t>
            </a:r>
            <a:r>
              <a:rPr lang="en-GB" sz="1100" i="1" dirty="0" err="1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gatherer_email</a:t>
            </a:r>
            <a:r>
              <a:rPr lang="en-GB" sz="1100" i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}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CF477FD-CD8A-4453-302D-D04958C8F38D}"/>
              </a:ext>
            </a:extLst>
          </p:cNvPr>
          <p:cNvSpPr>
            <a:spLocks noChangeAspect="1"/>
          </p:cNvSpPr>
          <p:nvPr/>
        </p:nvSpPr>
        <p:spPr>
          <a:xfrm>
            <a:off x="404970" y="8582720"/>
            <a:ext cx="828000" cy="828000"/>
          </a:xfrm>
          <a:prstGeom prst="ellips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164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Props1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6</TotalTime>
  <Words>327</Words>
  <Application>Microsoft Macintosh PowerPoint</Application>
  <PresentationFormat>Custom</PresentationFormat>
  <Paragraphs>41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Syne Medium</vt:lpstr>
      <vt:lpstr>Arial</vt:lpstr>
      <vt:lpstr>Syne</vt:lpstr>
      <vt:lpstr>Simple Light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16</cp:revision>
  <dcterms:modified xsi:type="dcterms:W3CDTF">2024-12-03T12:1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